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7.xml" ContentType="application/vnd.openxmlformats-officedocument.presentationml.tags+xml"/>
  <Override PartName="/ppt/notesSlides/notesSlide1.xml" ContentType="application/vnd.openxmlformats-officedocument.presentationml.notesSlide+xml"/>
  <Override PartName="/ppt/tags/tag108.xml" ContentType="application/vnd.openxmlformats-officedocument.presentationml.tags+xml"/>
  <Override PartName="/ppt/notesSlides/notesSlide2.xml" ContentType="application/vnd.openxmlformats-officedocument.presentationml.notesSlide+xml"/>
  <Override PartName="/ppt/tags/tag109.xml" ContentType="application/vnd.openxmlformats-officedocument.presentationml.tags+xml"/>
  <Override PartName="/ppt/notesSlides/notesSlide3.xml" ContentType="application/vnd.openxmlformats-officedocument.presentationml.notesSlide+xml"/>
  <Override PartName="/ppt/tags/tag110.xml" ContentType="application/vnd.openxmlformats-officedocument.presentationml.tags+xml"/>
  <Override PartName="/ppt/notesSlides/notesSlide4.xml" ContentType="application/vnd.openxmlformats-officedocument.presentationml.notesSlide+xml"/>
  <Override PartName="/ppt/tags/tag111.xml" ContentType="application/vnd.openxmlformats-officedocument.presentationml.tags+xml"/>
  <Override PartName="/ppt/notesSlides/notesSlide5.xml" ContentType="application/vnd.openxmlformats-officedocument.presentationml.notesSlide+xml"/>
  <Override PartName="/ppt/tags/tag112.xml" ContentType="application/vnd.openxmlformats-officedocument.presentationml.tags+xml"/>
  <Override PartName="/ppt/notesSlides/notesSlide6.xml" ContentType="application/vnd.openxmlformats-officedocument.presentationml.notesSlide+xml"/>
  <Override PartName="/ppt/tags/tag113.xml" ContentType="application/vnd.openxmlformats-officedocument.presentationml.tags+xml"/>
  <Override PartName="/ppt/notesSlides/notesSlide7.xml" ContentType="application/vnd.openxmlformats-officedocument.presentationml.notesSlide+xml"/>
  <Override PartName="/ppt/tags/tag114.xml" ContentType="application/vnd.openxmlformats-officedocument.presentationml.tags+xml"/>
  <Override PartName="/ppt/notesSlides/notesSlide8.xml" ContentType="application/vnd.openxmlformats-officedocument.presentationml.notesSlide+xml"/>
  <Override PartName="/ppt/tags/tag115.xml" ContentType="application/vnd.openxmlformats-officedocument.presentationml.tags+xml"/>
  <Override PartName="/ppt/notesSlides/notesSlide9.xml" ContentType="application/vnd.openxmlformats-officedocument.presentationml.notesSlide+xml"/>
  <Override PartName="/ppt/tags/tag116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</p:sldMasterIdLst>
  <p:notesMasterIdLst>
    <p:notesMasterId r:id="rId31"/>
  </p:notesMasterIdLst>
  <p:handoutMasterIdLst>
    <p:handoutMasterId r:id="rId32"/>
  </p:handoutMasterIdLst>
  <p:sldIdLst>
    <p:sldId id="389" r:id="rId6"/>
    <p:sldId id="269" r:id="rId7"/>
    <p:sldId id="557" r:id="rId8"/>
    <p:sldId id="575" r:id="rId9"/>
    <p:sldId id="558" r:id="rId10"/>
    <p:sldId id="574" r:id="rId11"/>
    <p:sldId id="559" r:id="rId12"/>
    <p:sldId id="560" r:id="rId13"/>
    <p:sldId id="561" r:id="rId14"/>
    <p:sldId id="562" r:id="rId15"/>
    <p:sldId id="567" r:id="rId16"/>
    <p:sldId id="568" r:id="rId17"/>
    <p:sldId id="569" r:id="rId18"/>
    <p:sldId id="564" r:id="rId19"/>
    <p:sldId id="565" r:id="rId20"/>
    <p:sldId id="566" r:id="rId21"/>
    <p:sldId id="570" r:id="rId22"/>
    <p:sldId id="274" r:id="rId23"/>
    <p:sldId id="578" r:id="rId24"/>
    <p:sldId id="577" r:id="rId25"/>
    <p:sldId id="576" r:id="rId26"/>
    <p:sldId id="579" r:id="rId27"/>
    <p:sldId id="580" r:id="rId28"/>
    <p:sldId id="581" r:id="rId29"/>
    <p:sldId id="288" r:id="rId30"/>
  </p:sldIdLst>
  <p:sldSz cx="9144000" cy="5145088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1CB64-41DE-4E99-AA61-015D66A9A29C}" v="513" dt="2025-09-04T07:42:20.848"/>
  </p1510:revLst>
</p1510:revInfo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929" autoAdjust="0"/>
  </p:normalViewPr>
  <p:slideViewPr>
    <p:cSldViewPr snapToGrid="0" showGuides="1">
      <p:cViewPr varScale="1">
        <p:scale>
          <a:sx n="91" d="100"/>
          <a:sy n="91" d="100"/>
        </p:scale>
        <p:origin x="584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48" d="100"/>
          <a:sy n="48" d="100"/>
        </p:scale>
        <p:origin x="2684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vedha N A" userId="48795343-f4b0-4368-b9f1-c6e5f3910d48" providerId="ADAL" clId="{3E51CB64-41DE-4E99-AA61-015D66A9A29C}"/>
    <pc:docChg chg="undo custSel addSld delSld modSld sldOrd">
      <pc:chgData name="Nivedha N A" userId="48795343-f4b0-4368-b9f1-c6e5f3910d48" providerId="ADAL" clId="{3E51CB64-41DE-4E99-AA61-015D66A9A29C}" dt="2025-09-04T07:43:32.953" v="4256" actId="20577"/>
      <pc:docMkLst>
        <pc:docMk/>
      </pc:docMkLst>
      <pc:sldChg chg="modSp del">
        <pc:chgData name="Nivedha N A" userId="48795343-f4b0-4368-b9f1-c6e5f3910d48" providerId="ADAL" clId="{3E51CB64-41DE-4E99-AA61-015D66A9A29C}" dt="2025-09-01T09:44:53.877" v="22" actId="2696"/>
        <pc:sldMkLst>
          <pc:docMk/>
          <pc:sldMk cId="2860242000" sldId="257"/>
        </pc:sldMkLst>
      </pc:sldChg>
      <pc:sldChg chg="del">
        <pc:chgData name="Nivedha N A" userId="48795343-f4b0-4368-b9f1-c6e5f3910d48" providerId="ADAL" clId="{3E51CB64-41DE-4E99-AA61-015D66A9A29C}" dt="2025-09-01T09:44:34.675" v="21" actId="2696"/>
        <pc:sldMkLst>
          <pc:docMk/>
          <pc:sldMk cId="4124568962" sldId="259"/>
        </pc:sldMkLst>
      </pc:sldChg>
      <pc:sldChg chg="modSp del">
        <pc:chgData name="Nivedha N A" userId="48795343-f4b0-4368-b9f1-c6e5f3910d48" providerId="ADAL" clId="{3E51CB64-41DE-4E99-AA61-015D66A9A29C}" dt="2025-09-01T10:06:06.400" v="98" actId="2696"/>
        <pc:sldMkLst>
          <pc:docMk/>
          <pc:sldMk cId="1371627831" sldId="262"/>
        </pc:sldMkLst>
      </pc:sldChg>
      <pc:sldChg chg="addSp delSp modSp mod">
        <pc:chgData name="Nivedha N A" userId="48795343-f4b0-4368-b9f1-c6e5f3910d48" providerId="ADAL" clId="{3E51CB64-41DE-4E99-AA61-015D66A9A29C}" dt="2025-09-01T14:45:09.509" v="2510" actId="1076"/>
        <pc:sldMkLst>
          <pc:docMk/>
          <pc:sldMk cId="1085679889" sldId="269"/>
        </pc:sldMkLst>
        <pc:spChg chg="mod">
          <ac:chgData name="Nivedha N A" userId="48795343-f4b0-4368-b9f1-c6e5f3910d48" providerId="ADAL" clId="{3E51CB64-41DE-4E99-AA61-015D66A9A29C}" dt="2025-09-01T10:20:53.782" v="285"/>
          <ac:spMkLst>
            <pc:docMk/>
            <pc:sldMk cId="1085679889" sldId="269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0:05:55.536" v="97" actId="20577"/>
          <ac:spMkLst>
            <pc:docMk/>
            <pc:sldMk cId="1085679889" sldId="269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40:08.665" v="2501" actId="20577"/>
          <ac:spMkLst>
            <pc:docMk/>
            <pc:sldMk cId="1085679889" sldId="269"/>
            <ac:spMk id="8" creationId="{B0B1E615-E944-47CD-AC27-55B477280C41}"/>
          </ac:spMkLst>
        </pc:spChg>
        <pc:picChg chg="add mod">
          <ac:chgData name="Nivedha N A" userId="48795343-f4b0-4368-b9f1-c6e5f3910d48" providerId="ADAL" clId="{3E51CB64-41DE-4E99-AA61-015D66A9A29C}" dt="2025-09-01T14:35:23.690" v="2500" actId="1076"/>
          <ac:picMkLst>
            <pc:docMk/>
            <pc:sldMk cId="1085679889" sldId="269"/>
            <ac:picMk id="1029" creationId="{37ACF022-2339-3846-F0AC-06C6069BE90D}"/>
          </ac:picMkLst>
        </pc:picChg>
        <pc:picChg chg="add mod">
          <ac:chgData name="Nivedha N A" userId="48795343-f4b0-4368-b9f1-c6e5f3910d48" providerId="ADAL" clId="{3E51CB64-41DE-4E99-AA61-015D66A9A29C}" dt="2025-09-01T14:45:09.509" v="2510" actId="1076"/>
          <ac:picMkLst>
            <pc:docMk/>
            <pc:sldMk cId="1085679889" sldId="269"/>
            <ac:picMk id="1031" creationId="{7DAEF337-3973-BB7A-4CFA-4721FF02C468}"/>
          </ac:picMkLst>
        </pc:picChg>
      </pc:sldChg>
      <pc:sldChg chg="addSp modSp del mod">
        <pc:chgData name="Nivedha N A" userId="48795343-f4b0-4368-b9f1-c6e5f3910d48" providerId="ADAL" clId="{3E51CB64-41DE-4E99-AA61-015D66A9A29C}" dt="2025-09-02T13:54:41.522" v="3524" actId="2696"/>
        <pc:sldMkLst>
          <pc:docMk/>
          <pc:sldMk cId="4220273849" sldId="270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3907478668" sldId="273"/>
        </pc:sldMkLst>
      </pc:sldChg>
      <pc:sldChg chg="addSp modSp add mod">
        <pc:chgData name="Nivedha N A" userId="48795343-f4b0-4368-b9f1-c6e5f3910d48" providerId="ADAL" clId="{3E51CB64-41DE-4E99-AA61-015D66A9A29C}" dt="2025-09-04T06:59:42.785" v="3750" actId="14100"/>
        <pc:sldMkLst>
          <pc:docMk/>
          <pc:sldMk cId="3999088887" sldId="274"/>
        </pc:sldMkLst>
        <pc:picChg chg="add mod">
          <ac:chgData name="Nivedha N A" userId="48795343-f4b0-4368-b9f1-c6e5f3910d48" providerId="ADAL" clId="{3E51CB64-41DE-4E99-AA61-015D66A9A29C}" dt="2025-09-04T06:59:42.785" v="3750" actId="14100"/>
          <ac:picMkLst>
            <pc:docMk/>
            <pc:sldMk cId="3999088887" sldId="274"/>
            <ac:picMk id="5" creationId="{ACFF2616-0E58-458D-E7C7-083887064B36}"/>
          </ac:picMkLst>
        </pc:picChg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605538384" sldId="279"/>
        </pc:sldMkLst>
      </pc:sldChg>
      <pc:sldChg chg="del">
        <pc:chgData name="Nivedha N A" userId="48795343-f4b0-4368-b9f1-c6e5f3910d48" providerId="ADAL" clId="{3E51CB64-41DE-4E99-AA61-015D66A9A29C}" dt="2025-09-02T13:54:23.605" v="3522" actId="2696"/>
        <pc:sldMkLst>
          <pc:docMk/>
          <pc:sldMk cId="2623588317" sldId="280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3095708973" sldId="287"/>
        </pc:sldMkLst>
      </pc:sldChg>
      <pc:sldChg chg="modSp add">
        <pc:chgData name="Nivedha N A" userId="48795343-f4b0-4368-b9f1-c6e5f3910d48" providerId="ADAL" clId="{3E51CB64-41DE-4E99-AA61-015D66A9A29C}" dt="2025-09-02T13:55:44.667" v="3529"/>
        <pc:sldMkLst>
          <pc:docMk/>
          <pc:sldMk cId="3764670247" sldId="288"/>
        </pc:sldMkLst>
        <pc:spChg chg="mod">
          <ac:chgData name="Nivedha N A" userId="48795343-f4b0-4368-b9f1-c6e5f3910d48" providerId="ADAL" clId="{3E51CB64-41DE-4E99-AA61-015D66A9A29C}" dt="2025-09-02T13:55:44.667" v="3529"/>
          <ac:spMkLst>
            <pc:docMk/>
            <pc:sldMk cId="3764670247" sldId="288"/>
            <ac:spMk id="3" creationId="{4C7DAEA0-5F99-491B-88F0-E51AE5A4554F}"/>
          </ac:spMkLst>
        </pc:spChg>
      </pc:sldChg>
      <pc:sldChg chg="del">
        <pc:chgData name="Nivedha N A" userId="48795343-f4b0-4368-b9f1-c6e5f3910d48" providerId="ADAL" clId="{3E51CB64-41DE-4E99-AA61-015D66A9A29C}" dt="2025-09-01T10:06:16.018" v="101" actId="2696"/>
        <pc:sldMkLst>
          <pc:docMk/>
          <pc:sldMk cId="1311371785" sldId="29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767620271" sldId="357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4065022239" sldId="358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639234891" sldId="359"/>
        </pc:sldMkLst>
      </pc:sldChg>
      <pc:sldChg chg="del">
        <pc:chgData name="Nivedha N A" userId="48795343-f4b0-4368-b9f1-c6e5f3910d48" providerId="ADAL" clId="{3E51CB64-41DE-4E99-AA61-015D66A9A29C}" dt="2025-09-02T13:54:31.399" v="3523" actId="2696"/>
        <pc:sldMkLst>
          <pc:docMk/>
          <pc:sldMk cId="2371574227" sldId="369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1662555385" sldId="388"/>
        </pc:sldMkLst>
      </pc:sldChg>
      <pc:sldChg chg="modSp mod">
        <pc:chgData name="Nivedha N A" userId="48795343-f4b0-4368-b9f1-c6e5f3910d48" providerId="ADAL" clId="{3E51CB64-41DE-4E99-AA61-015D66A9A29C}" dt="2025-09-01T09:43:38.309" v="20" actId="20577"/>
        <pc:sldMkLst>
          <pc:docMk/>
          <pc:sldMk cId="2861970163" sldId="389"/>
        </pc:sldMkLst>
        <pc:spChg chg="mod">
          <ac:chgData name="Nivedha N A" userId="48795343-f4b0-4368-b9f1-c6e5f3910d48" providerId="ADAL" clId="{3E51CB64-41DE-4E99-AA61-015D66A9A29C}" dt="2025-09-01T09:43:38.309" v="20" actId="20577"/>
          <ac:spMkLst>
            <pc:docMk/>
            <pc:sldMk cId="2861970163" sldId="389"/>
            <ac:spMk id="6" creationId="{47FAEEF0-36B7-4481-8228-07ECAE5665B2}"/>
          </ac:spMkLst>
        </pc:spChg>
      </pc:sldChg>
      <pc:sldChg chg="del">
        <pc:chgData name="Nivedha N A" userId="48795343-f4b0-4368-b9f1-c6e5f3910d48" providerId="ADAL" clId="{3E51CB64-41DE-4E99-AA61-015D66A9A29C}" dt="2025-09-01T09:45:05.308" v="23" actId="2696"/>
        <pc:sldMkLst>
          <pc:docMk/>
          <pc:sldMk cId="3631032012" sldId="390"/>
        </pc:sldMkLst>
      </pc:sldChg>
      <pc:sldChg chg="del">
        <pc:chgData name="Nivedha N A" userId="48795343-f4b0-4368-b9f1-c6e5f3910d48" providerId="ADAL" clId="{3E51CB64-41DE-4E99-AA61-015D66A9A29C}" dt="2025-09-01T09:45:08.564" v="24" actId="2696"/>
        <pc:sldMkLst>
          <pc:docMk/>
          <pc:sldMk cId="1221361603" sldId="391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854860422" sldId="392"/>
        </pc:sldMkLst>
      </pc:sldChg>
      <pc:sldChg chg="del">
        <pc:chgData name="Nivedha N A" userId="48795343-f4b0-4368-b9f1-c6e5f3910d48" providerId="ADAL" clId="{3E51CB64-41DE-4E99-AA61-015D66A9A29C}" dt="2025-09-02T13:54:41.522" v="3524" actId="2696"/>
        <pc:sldMkLst>
          <pc:docMk/>
          <pc:sldMk cId="2428717061" sldId="393"/>
        </pc:sldMkLst>
      </pc:sldChg>
      <pc:sldChg chg="modSp add del">
        <pc:chgData name="Nivedha N A" userId="48795343-f4b0-4368-b9f1-c6e5f3910d48" providerId="ADAL" clId="{3E51CB64-41DE-4E99-AA61-015D66A9A29C}" dt="2025-09-02T13:55:00.799" v="3527" actId="2696"/>
        <pc:sldMkLst>
          <pc:docMk/>
          <pc:sldMk cId="4035000069" sldId="394"/>
        </pc:sldMkLst>
      </pc:sldChg>
      <pc:sldChg chg="addSp delSp modSp add del mod">
        <pc:chgData name="Nivedha N A" userId="48795343-f4b0-4368-b9f1-c6e5f3910d48" providerId="ADAL" clId="{3E51CB64-41DE-4E99-AA61-015D66A9A29C}" dt="2025-09-02T05:18:37.816" v="3337" actId="2696"/>
        <pc:sldMkLst>
          <pc:docMk/>
          <pc:sldMk cId="1826746480" sldId="536"/>
        </pc:sldMkLst>
      </pc:sldChg>
      <pc:sldChg chg="addSp delSp modSp add del mod">
        <pc:chgData name="Nivedha N A" userId="48795343-f4b0-4368-b9f1-c6e5f3910d48" providerId="ADAL" clId="{3E51CB64-41DE-4E99-AA61-015D66A9A29C}" dt="2025-09-02T08:50:18.581" v="3447" actId="2696"/>
        <pc:sldMkLst>
          <pc:docMk/>
          <pc:sldMk cId="67126905" sldId="551"/>
        </pc:sldMkLst>
      </pc:sldChg>
      <pc:sldChg chg="addSp modSp add del mod">
        <pc:chgData name="Nivedha N A" userId="48795343-f4b0-4368-b9f1-c6e5f3910d48" providerId="ADAL" clId="{3E51CB64-41DE-4E99-AA61-015D66A9A29C}" dt="2025-09-02T13:54:55.730" v="3525" actId="2696"/>
        <pc:sldMkLst>
          <pc:docMk/>
          <pc:sldMk cId="244715785" sldId="555"/>
        </pc:sldMkLst>
      </pc:sldChg>
      <pc:sldChg chg="addSp delSp modSp add del mod">
        <pc:chgData name="Nivedha N A" userId="48795343-f4b0-4368-b9f1-c6e5f3910d48" providerId="ADAL" clId="{3E51CB64-41DE-4E99-AA61-015D66A9A29C}" dt="2025-09-02T13:38:53.940" v="3521" actId="2696"/>
        <pc:sldMkLst>
          <pc:docMk/>
          <pc:sldMk cId="1168618435" sldId="556"/>
        </pc:sldMkLst>
      </pc:sldChg>
      <pc:sldChg chg="modSp add del mod">
        <pc:chgData name="Nivedha N A" userId="48795343-f4b0-4368-b9f1-c6e5f3910d48" providerId="ADAL" clId="{3E51CB64-41DE-4E99-AA61-015D66A9A29C}" dt="2025-09-01T12:04:29.513" v="714" actId="2696"/>
        <pc:sldMkLst>
          <pc:docMk/>
          <pc:sldMk cId="1455720448" sldId="556"/>
        </pc:sldMkLst>
      </pc:sldChg>
      <pc:sldChg chg="addSp delSp modSp add mod">
        <pc:chgData name="Nivedha N A" userId="48795343-f4b0-4368-b9f1-c6e5f3910d48" providerId="ADAL" clId="{3E51CB64-41DE-4E99-AA61-015D66A9A29C}" dt="2025-09-02T08:52:15.438" v="3474" actId="20577"/>
        <pc:sldMkLst>
          <pc:docMk/>
          <pc:sldMk cId="1508089594" sldId="557"/>
        </pc:sldMkLst>
        <pc:spChg chg="mod">
          <ac:chgData name="Nivedha N A" userId="48795343-f4b0-4368-b9f1-c6e5f3910d48" providerId="ADAL" clId="{3E51CB64-41DE-4E99-AA61-015D66A9A29C}" dt="2025-09-01T13:35:50.210" v="2428"/>
          <ac:spMkLst>
            <pc:docMk/>
            <pc:sldMk cId="1508089594" sldId="557"/>
            <ac:spMk id="3" creationId="{42C3F69D-D76D-4CFB-AD5F-C2A6D428E3D6}"/>
          </ac:spMkLst>
        </pc:spChg>
        <pc:spChg chg="mod">
          <ac:chgData name="Nivedha N A" userId="48795343-f4b0-4368-b9f1-c6e5f3910d48" providerId="ADAL" clId="{3E51CB64-41DE-4E99-AA61-015D66A9A29C}" dt="2025-09-01T12:04:38.197" v="715"/>
          <ac:spMkLst>
            <pc:docMk/>
            <pc:sldMk cId="1508089594" sldId="557"/>
            <ac:spMk id="5" creationId="{3310CE0A-9AAD-4E7F-A2A7-EF175D65B632}"/>
          </ac:spMkLst>
        </pc:spChg>
        <pc:spChg chg="mod">
          <ac:chgData name="Nivedha N A" userId="48795343-f4b0-4368-b9f1-c6e5f3910d48" providerId="ADAL" clId="{3E51CB64-41DE-4E99-AA61-015D66A9A29C}" dt="2025-09-01T14:54:34.110" v="2594" actId="1076"/>
          <ac:spMkLst>
            <pc:docMk/>
            <pc:sldMk cId="1508089594" sldId="557"/>
            <ac:spMk id="6" creationId="{FA00883F-F124-4187-9967-B03237F827EF}"/>
          </ac:spMkLst>
        </pc:spChg>
        <pc:spChg chg="mod">
          <ac:chgData name="Nivedha N A" userId="48795343-f4b0-4368-b9f1-c6e5f3910d48" providerId="ADAL" clId="{3E51CB64-41DE-4E99-AA61-015D66A9A29C}" dt="2025-09-02T08:52:15.438" v="3474" actId="20577"/>
          <ac:spMkLst>
            <pc:docMk/>
            <pc:sldMk cId="1508089594" sldId="557"/>
            <ac:spMk id="8" creationId="{B0B1E615-E944-47CD-AC27-55B477280C41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2T03:39:29.862" v="3043" actId="1076"/>
        <pc:sldMkLst>
          <pc:docMk/>
          <pc:sldMk cId="2341847114" sldId="558"/>
        </pc:sldMkLst>
        <pc:spChg chg="mod">
          <ac:chgData name="Nivedha N A" userId="48795343-f4b0-4368-b9f1-c6e5f3910d48" providerId="ADAL" clId="{3E51CB64-41DE-4E99-AA61-015D66A9A29C}" dt="2025-09-01T13:36:15.674" v="2431"/>
          <ac:spMkLst>
            <pc:docMk/>
            <pc:sldMk cId="2341847114" sldId="558"/>
            <ac:spMk id="3" creationId="{6D4219D5-4ACA-2500-793E-9221D47D0A3C}"/>
          </ac:spMkLst>
        </pc:spChg>
        <pc:spChg chg="mod">
          <ac:chgData name="Nivedha N A" userId="48795343-f4b0-4368-b9f1-c6e5f3910d48" providerId="ADAL" clId="{3E51CB64-41DE-4E99-AA61-015D66A9A29C}" dt="2025-09-02T03:39:29.862" v="3043" actId="1076"/>
          <ac:spMkLst>
            <pc:docMk/>
            <pc:sldMk cId="2341847114" sldId="558"/>
            <ac:spMk id="6" creationId="{36033B35-304A-9B55-69C9-6BBBAD88EC2A}"/>
          </ac:spMkLst>
        </pc:spChg>
        <pc:spChg chg="mod">
          <ac:chgData name="Nivedha N A" userId="48795343-f4b0-4368-b9f1-c6e5f3910d48" providerId="ADAL" clId="{3E51CB64-41DE-4E99-AA61-015D66A9A29C}" dt="2025-09-02T03:39:24.942" v="3042" actId="1076"/>
          <ac:spMkLst>
            <pc:docMk/>
            <pc:sldMk cId="2341847114" sldId="558"/>
            <ac:spMk id="8" creationId="{7307832E-BE7E-D60F-ACC3-93B208E86D35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2T13:37:52.944" v="3518"/>
        <pc:sldMkLst>
          <pc:docMk/>
          <pc:sldMk cId="392851940" sldId="559"/>
        </pc:sldMkLst>
        <pc:spChg chg="mod">
          <ac:chgData name="Nivedha N A" userId="48795343-f4b0-4368-b9f1-c6e5f3910d48" providerId="ADAL" clId="{3E51CB64-41DE-4E99-AA61-015D66A9A29C}" dt="2025-09-01T13:36:20.491" v="2432"/>
          <ac:spMkLst>
            <pc:docMk/>
            <pc:sldMk cId="392851940" sldId="559"/>
            <ac:spMk id="3" creationId="{CBF92B60-CE3F-A351-3E5E-24D5AE40CE50}"/>
          </ac:spMkLst>
        </pc:spChg>
        <pc:spChg chg="mod">
          <ac:chgData name="Nivedha N A" userId="48795343-f4b0-4368-b9f1-c6e5f3910d48" providerId="ADAL" clId="{3E51CB64-41DE-4E99-AA61-015D66A9A29C}" dt="2025-09-02T05:18:25.446" v="3336" actId="1076"/>
          <ac:spMkLst>
            <pc:docMk/>
            <pc:sldMk cId="392851940" sldId="559"/>
            <ac:spMk id="6" creationId="{2BB6C697-FDFC-1F41-6DBF-152C952B6A9D}"/>
          </ac:spMkLst>
        </pc:spChg>
        <pc:spChg chg="mod">
          <ac:chgData name="Nivedha N A" userId="48795343-f4b0-4368-b9f1-c6e5f3910d48" providerId="ADAL" clId="{3E51CB64-41DE-4E99-AA61-015D66A9A29C}" dt="2025-09-02T13:37:52.944" v="3518"/>
          <ac:spMkLst>
            <pc:docMk/>
            <pc:sldMk cId="392851940" sldId="559"/>
            <ac:spMk id="8" creationId="{53C22927-4502-A519-B613-E1AAB035F2F4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1T16:25:26.503" v="2764" actId="1076"/>
        <pc:sldMkLst>
          <pc:docMk/>
          <pc:sldMk cId="2005893529" sldId="560"/>
        </pc:sldMkLst>
        <pc:spChg chg="mod">
          <ac:chgData name="Nivedha N A" userId="48795343-f4b0-4368-b9f1-c6e5f3910d48" providerId="ADAL" clId="{3E51CB64-41DE-4E99-AA61-015D66A9A29C}" dt="2025-09-01T13:36:30.419" v="2433"/>
          <ac:spMkLst>
            <pc:docMk/>
            <pc:sldMk cId="2005893529" sldId="560"/>
            <ac:spMk id="3" creationId="{5D6D13F7-B0DD-0A3F-9A83-A40E1662CF5F}"/>
          </ac:spMkLst>
        </pc:spChg>
        <pc:spChg chg="mod">
          <ac:chgData name="Nivedha N A" userId="48795343-f4b0-4368-b9f1-c6e5f3910d48" providerId="ADAL" clId="{3E51CB64-41DE-4E99-AA61-015D66A9A29C}" dt="2025-09-01T12:13:27.466" v="1014"/>
          <ac:spMkLst>
            <pc:docMk/>
            <pc:sldMk cId="2005893529" sldId="560"/>
            <ac:spMk id="5" creationId="{24EFFEAC-43FB-2C0B-F818-92F0BB61A19D}"/>
          </ac:spMkLst>
        </pc:spChg>
        <pc:spChg chg="mod">
          <ac:chgData name="Nivedha N A" userId="48795343-f4b0-4368-b9f1-c6e5f3910d48" providerId="ADAL" clId="{3E51CB64-41DE-4E99-AA61-015D66A9A29C}" dt="2025-09-01T16:01:49.735" v="2712" actId="20577"/>
          <ac:spMkLst>
            <pc:docMk/>
            <pc:sldMk cId="2005893529" sldId="560"/>
            <ac:spMk id="6" creationId="{C94AAAD1-85D6-7983-840F-59E00D4747C2}"/>
          </ac:spMkLst>
        </pc:spChg>
        <pc:spChg chg="mod">
          <ac:chgData name="Nivedha N A" userId="48795343-f4b0-4368-b9f1-c6e5f3910d48" providerId="ADAL" clId="{3E51CB64-41DE-4E99-AA61-015D66A9A29C}" dt="2025-09-01T16:16:16.207" v="2749" actId="14100"/>
          <ac:spMkLst>
            <pc:docMk/>
            <pc:sldMk cId="2005893529" sldId="560"/>
            <ac:spMk id="8" creationId="{357C7668-AA72-FDED-2FE3-6AFB8C54CB85}"/>
          </ac:spMkLst>
        </pc:spChg>
        <pc:spChg chg="add mod">
          <ac:chgData name="Nivedha N A" userId="48795343-f4b0-4368-b9f1-c6e5f3910d48" providerId="ADAL" clId="{3E51CB64-41DE-4E99-AA61-015D66A9A29C}" dt="2025-09-01T16:25:26.503" v="2764" actId="1076"/>
          <ac:spMkLst>
            <pc:docMk/>
            <pc:sldMk cId="2005893529" sldId="560"/>
            <ac:spMk id="14" creationId="{A50D75F6-A1F9-C5D2-EB66-32E633374B68}"/>
          </ac:spMkLst>
        </pc:spChg>
        <pc:spChg chg="add mod">
          <ac:chgData name="Nivedha N A" userId="48795343-f4b0-4368-b9f1-c6e5f3910d48" providerId="ADAL" clId="{3E51CB64-41DE-4E99-AA61-015D66A9A29C}" dt="2025-09-01T16:17:05.613" v="2753" actId="20577"/>
          <ac:spMkLst>
            <pc:docMk/>
            <pc:sldMk cId="2005893529" sldId="560"/>
            <ac:spMk id="17" creationId="{B5D6CACE-FEA3-F33D-6AA1-E99F1BCC5EF1}"/>
          </ac:spMkLst>
        </pc:spChg>
        <pc:picChg chg="add mod">
          <ac:chgData name="Nivedha N A" userId="48795343-f4b0-4368-b9f1-c6e5f3910d48" providerId="ADAL" clId="{3E51CB64-41DE-4E99-AA61-015D66A9A29C}" dt="2025-09-01T16:01:21.190" v="2708" actId="1076"/>
          <ac:picMkLst>
            <pc:docMk/>
            <pc:sldMk cId="2005893529" sldId="560"/>
            <ac:picMk id="3080" creationId="{34019E49-C474-8F33-21E5-85DE57290507}"/>
          </ac:picMkLst>
        </pc:picChg>
        <pc:picChg chg="add mod">
          <ac:chgData name="Nivedha N A" userId="48795343-f4b0-4368-b9f1-c6e5f3910d48" providerId="ADAL" clId="{3E51CB64-41DE-4E99-AA61-015D66A9A29C}" dt="2025-09-01T15:59:20.050" v="2700" actId="14100"/>
          <ac:picMkLst>
            <pc:docMk/>
            <pc:sldMk cId="2005893529" sldId="560"/>
            <ac:picMk id="3086" creationId="{A7CA63AD-1EE1-4376-678B-98470C54D9FB}"/>
          </ac:picMkLst>
        </pc:picChg>
        <pc:picChg chg="add mod">
          <ac:chgData name="Nivedha N A" userId="48795343-f4b0-4368-b9f1-c6e5f3910d48" providerId="ADAL" clId="{3E51CB64-41DE-4E99-AA61-015D66A9A29C}" dt="2025-09-01T16:01:29.867" v="2709" actId="14100"/>
          <ac:picMkLst>
            <pc:docMk/>
            <pc:sldMk cId="2005893529" sldId="560"/>
            <ac:picMk id="3088" creationId="{7C0F1331-D379-4DB9-63D0-BD7F7B5D9988}"/>
          </ac:picMkLst>
        </pc:picChg>
        <pc:picChg chg="add mod">
          <ac:chgData name="Nivedha N A" userId="48795343-f4b0-4368-b9f1-c6e5f3910d48" providerId="ADAL" clId="{3E51CB64-41DE-4E99-AA61-015D66A9A29C}" dt="2025-09-01T16:23:43.783" v="2763" actId="14100"/>
          <ac:picMkLst>
            <pc:docMk/>
            <pc:sldMk cId="2005893529" sldId="560"/>
            <ac:picMk id="3092" creationId="{3CF74EAC-7769-1942-2489-4E4064CE53DF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1T16:13:49.809" v="2722"/>
        <pc:sldMkLst>
          <pc:docMk/>
          <pc:sldMk cId="936466097" sldId="561"/>
        </pc:sldMkLst>
        <pc:spChg chg="mod">
          <ac:chgData name="Nivedha N A" userId="48795343-f4b0-4368-b9f1-c6e5f3910d48" providerId="ADAL" clId="{3E51CB64-41DE-4E99-AA61-015D66A9A29C}" dt="2025-09-01T13:36:37.843" v="2434"/>
          <ac:spMkLst>
            <pc:docMk/>
            <pc:sldMk cId="936466097" sldId="561"/>
            <ac:spMk id="3" creationId="{6739A735-BC7F-BC4E-D84F-5C5114189CEA}"/>
          </ac:spMkLst>
        </pc:spChg>
        <pc:spChg chg="mod">
          <ac:chgData name="Nivedha N A" userId="48795343-f4b0-4368-b9f1-c6e5f3910d48" providerId="ADAL" clId="{3E51CB64-41DE-4E99-AA61-015D66A9A29C}" dt="2025-09-01T12:23:51.563" v="1552" actId="20577"/>
          <ac:spMkLst>
            <pc:docMk/>
            <pc:sldMk cId="936466097" sldId="561"/>
            <ac:spMk id="15" creationId="{F89C7623-D0ED-6B8B-9C1D-39F4E36E8A6C}"/>
          </ac:spMkLst>
        </pc:spChg>
        <pc:spChg chg="add mod">
          <ac:chgData name="Nivedha N A" userId="48795343-f4b0-4368-b9f1-c6e5f3910d48" providerId="ADAL" clId="{3E51CB64-41DE-4E99-AA61-015D66A9A29C}" dt="2025-09-01T16:13:27.013" v="2721"/>
          <ac:spMkLst>
            <pc:docMk/>
            <pc:sldMk cId="936466097" sldId="561"/>
            <ac:spMk id="18" creationId="{1EF0E18C-3BE3-52FD-D83E-C6F182C5FDFA}"/>
          </ac:spMkLst>
        </pc:spChg>
        <pc:spChg chg="add mod">
          <ac:chgData name="Nivedha N A" userId="48795343-f4b0-4368-b9f1-c6e5f3910d48" providerId="ADAL" clId="{3E51CB64-41DE-4E99-AA61-015D66A9A29C}" dt="2025-09-01T16:13:49.809" v="2722"/>
          <ac:spMkLst>
            <pc:docMk/>
            <pc:sldMk cId="936466097" sldId="561"/>
            <ac:spMk id="19" creationId="{1A30D743-B4A6-D96B-54C2-7B7CC11E23FC}"/>
          </ac:spMkLst>
        </pc:spChg>
        <pc:picChg chg="add mod">
          <ac:chgData name="Nivedha N A" userId="48795343-f4b0-4368-b9f1-c6e5f3910d48" providerId="ADAL" clId="{3E51CB64-41DE-4E99-AA61-015D66A9A29C}" dt="2025-09-01T16:12:57.478" v="2719" actId="14100"/>
          <ac:picMkLst>
            <pc:docMk/>
            <pc:sldMk cId="936466097" sldId="561"/>
            <ac:picMk id="13" creationId="{003124DD-6AA0-532B-9CC7-4F7A0EA76337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1T12:35:38.564" v="1761" actId="2696"/>
        <pc:sldMkLst>
          <pc:docMk/>
          <pc:sldMk cId="782349031" sldId="562"/>
        </pc:sldMkLst>
      </pc:sldChg>
      <pc:sldChg chg="addSp delSp modSp add mod">
        <pc:chgData name="Nivedha N A" userId="48795343-f4b0-4368-b9f1-c6e5f3910d48" providerId="ADAL" clId="{3E51CB64-41DE-4E99-AA61-015D66A9A29C}" dt="2025-09-02T03:16:50.463" v="2938" actId="1076"/>
        <pc:sldMkLst>
          <pc:docMk/>
          <pc:sldMk cId="1261867268" sldId="562"/>
        </pc:sldMkLst>
        <pc:spChg chg="mod">
          <ac:chgData name="Nivedha N A" userId="48795343-f4b0-4368-b9f1-c6e5f3910d48" providerId="ADAL" clId="{3E51CB64-41DE-4E99-AA61-015D66A9A29C}" dt="2025-09-01T12:51:17.897" v="2268" actId="20577"/>
          <ac:spMkLst>
            <pc:docMk/>
            <pc:sldMk cId="1261867268" sldId="562"/>
            <ac:spMk id="2" creationId="{30B707F3-6196-EB39-B9ED-1D3524A0D68E}"/>
          </ac:spMkLst>
        </pc:spChg>
        <pc:spChg chg="mod">
          <ac:chgData name="Nivedha N A" userId="48795343-f4b0-4368-b9f1-c6e5f3910d48" providerId="ADAL" clId="{3E51CB64-41DE-4E99-AA61-015D66A9A29C}" dt="2025-09-01T13:36:58.489" v="2438"/>
          <ac:spMkLst>
            <pc:docMk/>
            <pc:sldMk cId="1261867268" sldId="562"/>
            <ac:spMk id="3" creationId="{C43A7C92-91F2-5AE5-B96D-8AE32B7AFB40}"/>
          </ac:spMkLst>
        </pc:spChg>
        <pc:spChg chg="add del mod">
          <ac:chgData name="Nivedha N A" userId="48795343-f4b0-4368-b9f1-c6e5f3910d48" providerId="ADAL" clId="{3E51CB64-41DE-4E99-AA61-015D66A9A29C}" dt="2025-09-02T03:16:50.463" v="2938" actId="1076"/>
          <ac:spMkLst>
            <pc:docMk/>
            <pc:sldMk cId="1261867268" sldId="562"/>
            <ac:spMk id="6" creationId="{8AAD3E2C-A803-6A46-085E-BE34B5687CBD}"/>
          </ac:spMkLst>
        </pc:spChg>
        <pc:spChg chg="add mod">
          <ac:chgData name="Nivedha N A" userId="48795343-f4b0-4368-b9f1-c6e5f3910d48" providerId="ADAL" clId="{3E51CB64-41DE-4E99-AA61-015D66A9A29C}" dt="2025-09-01T13:30:00.572" v="2368" actId="14100"/>
          <ac:spMkLst>
            <pc:docMk/>
            <pc:sldMk cId="1261867268" sldId="562"/>
            <ac:spMk id="10" creationId="{8C459260-035B-99C1-88F0-CE844B7C1C85}"/>
          </ac:spMkLst>
        </pc:spChg>
      </pc:sldChg>
      <pc:sldChg chg="new del">
        <pc:chgData name="Nivedha N A" userId="48795343-f4b0-4368-b9f1-c6e5f3910d48" providerId="ADAL" clId="{3E51CB64-41DE-4E99-AA61-015D66A9A29C}" dt="2025-09-02T13:54:58.366" v="3526" actId="2696"/>
        <pc:sldMkLst>
          <pc:docMk/>
          <pc:sldMk cId="466951201" sldId="563"/>
        </pc:sldMkLst>
      </pc:sldChg>
      <pc:sldChg chg="addSp delSp modSp add mod">
        <pc:chgData name="Nivedha N A" userId="48795343-f4b0-4368-b9f1-c6e5f3910d48" providerId="ADAL" clId="{3E51CB64-41DE-4E99-AA61-015D66A9A29C}" dt="2025-09-02T03:29:18.768" v="3003" actId="20577"/>
        <pc:sldMkLst>
          <pc:docMk/>
          <pc:sldMk cId="3649489225" sldId="564"/>
        </pc:sldMkLst>
        <pc:spChg chg="mod">
          <ac:chgData name="Nivedha N A" userId="48795343-f4b0-4368-b9f1-c6e5f3910d48" providerId="ADAL" clId="{3E51CB64-41DE-4E99-AA61-015D66A9A29C}" dt="2025-09-01T13:31:50.586" v="2374"/>
          <ac:spMkLst>
            <pc:docMk/>
            <pc:sldMk cId="3649489225" sldId="564"/>
            <ac:spMk id="2" creationId="{9F6D37B4-AF0E-46F6-FCE2-48C37E0C6FE1}"/>
          </ac:spMkLst>
        </pc:spChg>
        <pc:spChg chg="mod">
          <ac:chgData name="Nivedha N A" userId="48795343-f4b0-4368-b9f1-c6e5f3910d48" providerId="ADAL" clId="{3E51CB64-41DE-4E99-AA61-015D66A9A29C}" dt="2025-09-01T13:38:44.385" v="2451"/>
          <ac:spMkLst>
            <pc:docMk/>
            <pc:sldMk cId="3649489225" sldId="564"/>
            <ac:spMk id="3" creationId="{E7162FED-278D-D633-F102-0CF26F04F46F}"/>
          </ac:spMkLst>
        </pc:spChg>
        <pc:spChg chg="mod">
          <ac:chgData name="Nivedha N A" userId="48795343-f4b0-4368-b9f1-c6e5f3910d48" providerId="ADAL" clId="{3E51CB64-41DE-4E99-AA61-015D66A9A29C}" dt="2025-09-02T03:29:18.768" v="3003" actId="20577"/>
          <ac:spMkLst>
            <pc:docMk/>
            <pc:sldMk cId="3649489225" sldId="564"/>
            <ac:spMk id="6" creationId="{1B4D34F3-526F-CE6C-6351-F4D230C09F4E}"/>
          </ac:spMkLst>
        </pc:spChg>
      </pc:sldChg>
      <pc:sldChg chg="addSp delSp modSp add mod modClrScheme chgLayout">
        <pc:chgData name="Nivedha N A" userId="48795343-f4b0-4368-b9f1-c6e5f3910d48" providerId="ADAL" clId="{3E51CB64-41DE-4E99-AA61-015D66A9A29C}" dt="2025-09-02T03:17:17.675" v="2939" actId="26606"/>
        <pc:sldMkLst>
          <pc:docMk/>
          <pc:sldMk cId="4230274081" sldId="565"/>
        </pc:sldMkLst>
        <pc:spChg chg="mod ord">
          <ac:chgData name="Nivedha N A" userId="48795343-f4b0-4368-b9f1-c6e5f3910d48" providerId="ADAL" clId="{3E51CB64-41DE-4E99-AA61-015D66A9A29C}" dt="2025-09-02T03:17:17.675" v="2939" actId="26606"/>
          <ac:spMkLst>
            <pc:docMk/>
            <pc:sldMk cId="4230274081" sldId="565"/>
            <ac:spMk id="2" creationId="{A580F983-32C0-B831-D666-5755E99601FF}"/>
          </ac:spMkLst>
        </pc:spChg>
        <pc:spChg chg="mod">
          <ac:chgData name="Nivedha N A" userId="48795343-f4b0-4368-b9f1-c6e5f3910d48" providerId="ADAL" clId="{3E51CB64-41DE-4E99-AA61-015D66A9A29C}" dt="2025-09-02T03:17:17.675" v="2939" actId="26606"/>
          <ac:spMkLst>
            <pc:docMk/>
            <pc:sldMk cId="4230274081" sldId="565"/>
            <ac:spMk id="3" creationId="{C1EEEB23-8A34-2B7E-8FF9-106EDA09C0EE}"/>
          </ac:spMkLst>
        </pc:spChg>
        <pc:spChg chg="mod">
          <ac:chgData name="Nivedha N A" userId="48795343-f4b0-4368-b9f1-c6e5f3910d48" providerId="ADAL" clId="{3E51CB64-41DE-4E99-AA61-015D66A9A29C}" dt="2025-09-02T03:17:17.675" v="2939" actId="26606"/>
          <ac:spMkLst>
            <pc:docMk/>
            <pc:sldMk cId="4230274081" sldId="565"/>
            <ac:spMk id="4" creationId="{0CD51055-CB13-C37A-1E8D-64D36011E50A}"/>
          </ac:spMkLst>
        </pc:spChg>
        <pc:picChg chg="add mod">
          <ac:chgData name="Nivedha N A" userId="48795343-f4b0-4368-b9f1-c6e5f3910d48" providerId="ADAL" clId="{3E51CB64-41DE-4E99-AA61-015D66A9A29C}" dt="2025-09-02T03:17:17.675" v="2939" actId="26606"/>
          <ac:picMkLst>
            <pc:docMk/>
            <pc:sldMk cId="4230274081" sldId="565"/>
            <ac:picMk id="8194" creationId="{98DB2711-DB48-8963-7A3F-4DF9FAC9628A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12:19:33.010" v="3481" actId="14100"/>
        <pc:sldMkLst>
          <pc:docMk/>
          <pc:sldMk cId="1746813339" sldId="566"/>
        </pc:sldMkLst>
        <pc:spChg chg="mod or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2" creationId="{40AD5F32-B918-473A-D1D2-584FBE2FC3C5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3" creationId="{04FBF6E3-0EA4-553F-7B52-56AC215FB13E}"/>
          </ac:spMkLst>
        </pc:spChg>
        <pc:spChg chg="mod">
          <ac:chgData name="Nivedha N A" userId="48795343-f4b0-4368-b9f1-c6e5f3910d48" providerId="ADAL" clId="{3E51CB64-41DE-4E99-AA61-015D66A9A29C}" dt="2025-09-02T03:18:09.063" v="2940" actId="26606"/>
          <ac:spMkLst>
            <pc:docMk/>
            <pc:sldMk cId="1746813339" sldId="566"/>
            <ac:spMk id="4" creationId="{BA64A9BC-0E30-4764-9E37-13BE9046AF59}"/>
          </ac:spMkLst>
        </pc:spChg>
        <pc:picChg chg="add mod">
          <ac:chgData name="Nivedha N A" userId="48795343-f4b0-4368-b9f1-c6e5f3910d48" providerId="ADAL" clId="{3E51CB64-41DE-4E99-AA61-015D66A9A29C}" dt="2025-09-02T12:19:33.010" v="3481" actId="14100"/>
          <ac:picMkLst>
            <pc:docMk/>
            <pc:sldMk cId="1746813339" sldId="566"/>
            <ac:picMk id="6" creationId="{00D784FB-97BB-0C31-F6B3-780689449BD1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6:25.832" v="2934" actId="14100"/>
        <pc:sldMkLst>
          <pc:docMk/>
          <pc:sldMk cId="1825012440" sldId="567"/>
        </pc:sldMkLst>
        <pc:spChg chg="mod or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2" creationId="{3462E56D-F9B5-BC04-C764-2814FAB38C9A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3" creationId="{4FC2060A-D8F3-DEEF-1CEF-E5AFD55A8C80}"/>
          </ac:spMkLst>
        </pc:spChg>
        <pc:spChg chg="mod">
          <ac:chgData name="Nivedha N A" userId="48795343-f4b0-4368-b9f1-c6e5f3910d48" providerId="ADAL" clId="{3E51CB64-41DE-4E99-AA61-015D66A9A29C}" dt="2025-09-02T03:16:12.481" v="2931" actId="26606"/>
          <ac:spMkLst>
            <pc:docMk/>
            <pc:sldMk cId="1825012440" sldId="567"/>
            <ac:spMk id="4" creationId="{7CAD7A2D-F2CF-15DD-2D79-254CD41AC335}"/>
          </ac:spMkLst>
        </pc:spChg>
        <pc:spChg chg="ord">
          <ac:chgData name="Nivedha N A" userId="48795343-f4b0-4368-b9f1-c6e5f3910d48" providerId="ADAL" clId="{3E51CB64-41DE-4E99-AA61-015D66A9A29C}" dt="2025-09-02T03:09:52.102" v="2784" actId="26606"/>
          <ac:spMkLst>
            <pc:docMk/>
            <pc:sldMk cId="1825012440" sldId="567"/>
            <ac:spMk id="10" creationId="{E4D8E35A-1236-FD4F-D369-3A23C73AFCC0}"/>
          </ac:spMkLst>
        </pc:spChg>
        <pc:picChg chg="mod">
          <ac:chgData name="Nivedha N A" userId="48795343-f4b0-4368-b9f1-c6e5f3910d48" providerId="ADAL" clId="{3E51CB64-41DE-4E99-AA61-015D66A9A29C}" dt="2025-09-02T03:16:25.832" v="2934" actId="14100"/>
          <ac:picMkLst>
            <pc:docMk/>
            <pc:sldMk cId="1825012440" sldId="567"/>
            <ac:picMk id="5124" creationId="{11BEAD29-AB20-6767-8719-8300FF2AAF0E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5:52.917" v="2929" actId="14100"/>
        <pc:sldMkLst>
          <pc:docMk/>
          <pc:sldMk cId="2693548094" sldId="568"/>
        </pc:sldMkLst>
        <pc:spChg chg="mod or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2" creationId="{3FC4C995-2DFB-9BCC-4077-9283C3361552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3" creationId="{B1228013-0A37-948E-7AE2-A2F6B90D8C2A}"/>
          </ac:spMkLst>
        </pc:spChg>
        <pc:spChg chg="mod">
          <ac:chgData name="Nivedha N A" userId="48795343-f4b0-4368-b9f1-c6e5f3910d48" providerId="ADAL" clId="{3E51CB64-41DE-4E99-AA61-015D66A9A29C}" dt="2025-09-02T03:15:38.663" v="2926" actId="26606"/>
          <ac:spMkLst>
            <pc:docMk/>
            <pc:sldMk cId="2693548094" sldId="568"/>
            <ac:spMk id="4" creationId="{FF42A8FF-A1E8-9891-E9CB-4EB573704392}"/>
          </ac:spMkLst>
        </pc:spChg>
        <pc:spChg chg="ord">
          <ac:chgData name="Nivedha N A" userId="48795343-f4b0-4368-b9f1-c6e5f3910d48" providerId="ADAL" clId="{3E51CB64-41DE-4E99-AA61-015D66A9A29C}" dt="2025-09-02T03:10:58.225" v="2798" actId="26606"/>
          <ac:spMkLst>
            <pc:docMk/>
            <pc:sldMk cId="2693548094" sldId="568"/>
            <ac:spMk id="10" creationId="{27FBF77E-5846-F176-4BA6-B65CB1491C54}"/>
          </ac:spMkLst>
        </pc:spChg>
        <pc:picChg chg="add mod">
          <ac:chgData name="Nivedha N A" userId="48795343-f4b0-4368-b9f1-c6e5f3910d48" providerId="ADAL" clId="{3E51CB64-41DE-4E99-AA61-015D66A9A29C}" dt="2025-09-02T03:15:52.917" v="2929" actId="14100"/>
          <ac:picMkLst>
            <pc:docMk/>
            <pc:sldMk cId="2693548094" sldId="568"/>
            <ac:picMk id="5" creationId="{C4C14E67-24B5-B477-A0DF-8B9C701C4CEE}"/>
          </ac:picMkLst>
        </pc:picChg>
      </pc:sldChg>
      <pc:sldChg chg="addSp delSp modSp add mod modClrScheme chgLayout">
        <pc:chgData name="Nivedha N A" userId="48795343-f4b0-4368-b9f1-c6e5f3910d48" providerId="ADAL" clId="{3E51CB64-41DE-4E99-AA61-015D66A9A29C}" dt="2025-09-02T03:16:03.771" v="2930" actId="14100"/>
        <pc:sldMkLst>
          <pc:docMk/>
          <pc:sldMk cId="761109382" sldId="569"/>
        </pc:sldMkLst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2" creationId="{694E2919-8009-7F1B-7FF4-87A6DF906D49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3" creationId="{1ECEB577-A7B4-CDB4-6BE3-6C1E825074D3}"/>
          </ac:spMkLst>
        </pc:spChg>
        <pc:spChg chg="mo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4" creationId="{FC7AE0B1-756D-099E-9E75-DECB376869CF}"/>
          </ac:spMkLst>
        </pc:spChg>
        <pc:spChg chg="ord">
          <ac:chgData name="Nivedha N A" userId="48795343-f4b0-4368-b9f1-c6e5f3910d48" providerId="ADAL" clId="{3E51CB64-41DE-4E99-AA61-015D66A9A29C}" dt="2025-09-02T03:15:08.709" v="2922" actId="26606"/>
          <ac:spMkLst>
            <pc:docMk/>
            <pc:sldMk cId="761109382" sldId="569"/>
            <ac:spMk id="10" creationId="{7A0207C6-8055-4C02-3546-F425009E4E0C}"/>
          </ac:spMkLst>
        </pc:spChg>
        <pc:picChg chg="add mod">
          <ac:chgData name="Nivedha N A" userId="48795343-f4b0-4368-b9f1-c6e5f3910d48" providerId="ADAL" clId="{3E51CB64-41DE-4E99-AA61-015D66A9A29C}" dt="2025-09-02T03:16:03.771" v="2930" actId="14100"/>
          <ac:picMkLst>
            <pc:docMk/>
            <pc:sldMk cId="761109382" sldId="569"/>
            <ac:picMk id="8" creationId="{28E8C03E-7778-48C5-C74B-7F11761FBE71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3:25:52.040" v="2952" actId="14100"/>
        <pc:sldMkLst>
          <pc:docMk/>
          <pc:sldMk cId="3145107186" sldId="570"/>
        </pc:sldMkLst>
        <pc:picChg chg="add mod">
          <ac:chgData name="Nivedha N A" userId="48795343-f4b0-4368-b9f1-c6e5f3910d48" providerId="ADAL" clId="{3E51CB64-41DE-4E99-AA61-015D66A9A29C}" dt="2025-09-02T03:25:52.040" v="2952" actId="14100"/>
          <ac:picMkLst>
            <pc:docMk/>
            <pc:sldMk cId="3145107186" sldId="570"/>
            <ac:picMk id="10242" creationId="{5532B730-7423-4FF8-117C-7FAFEFC0463D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2T04:32:53.031" v="3126" actId="2696"/>
        <pc:sldMkLst>
          <pc:docMk/>
          <pc:sldMk cId="3906127166" sldId="571"/>
        </pc:sldMkLst>
      </pc:sldChg>
      <pc:sldChg chg="addSp delSp modSp add del mod">
        <pc:chgData name="Nivedha N A" userId="48795343-f4b0-4368-b9f1-c6e5f3910d48" providerId="ADAL" clId="{3E51CB64-41DE-4E99-AA61-015D66A9A29C}" dt="2025-09-02T04:32:06.174" v="3103" actId="2696"/>
        <pc:sldMkLst>
          <pc:docMk/>
          <pc:sldMk cId="1160093553" sldId="572"/>
        </pc:sldMkLst>
      </pc:sldChg>
      <pc:sldChg chg="addSp delSp modSp add del mod ord">
        <pc:chgData name="Nivedha N A" userId="48795343-f4b0-4368-b9f1-c6e5f3910d48" providerId="ADAL" clId="{3E51CB64-41DE-4E99-AA61-015D66A9A29C}" dt="2025-09-02T05:18:47.984" v="3338" actId="2696"/>
        <pc:sldMkLst>
          <pc:docMk/>
          <pc:sldMk cId="1651995148" sldId="573"/>
        </pc:sldMkLst>
      </pc:sldChg>
      <pc:sldChg chg="addSp delSp modSp add mod ord">
        <pc:chgData name="Nivedha N A" userId="48795343-f4b0-4368-b9f1-c6e5f3910d48" providerId="ADAL" clId="{3E51CB64-41DE-4E99-AA61-015D66A9A29C}" dt="2025-09-02T04:32:46.803" v="3125" actId="20577"/>
        <pc:sldMkLst>
          <pc:docMk/>
          <pc:sldMk cId="2259301310" sldId="574"/>
        </pc:sldMkLst>
        <pc:spChg chg="mod">
          <ac:chgData name="Nivedha N A" userId="48795343-f4b0-4368-b9f1-c6e5f3910d48" providerId="ADAL" clId="{3E51CB64-41DE-4E99-AA61-015D66A9A29C}" dt="2025-09-02T04:32:46.803" v="3125" actId="20577"/>
          <ac:spMkLst>
            <pc:docMk/>
            <pc:sldMk cId="2259301310" sldId="574"/>
            <ac:spMk id="2" creationId="{78C8B713-2A28-B5B1-2B62-B165FC1230C9}"/>
          </ac:spMkLst>
        </pc:spChg>
        <pc:picChg chg="add mod">
          <ac:chgData name="Nivedha N A" userId="48795343-f4b0-4368-b9f1-c6e5f3910d48" providerId="ADAL" clId="{3E51CB64-41DE-4E99-AA61-015D66A9A29C}" dt="2025-09-02T04:32:40.666" v="3110" actId="1076"/>
          <ac:picMkLst>
            <pc:docMk/>
            <pc:sldMk cId="2259301310" sldId="574"/>
            <ac:picMk id="6" creationId="{8FBC4177-733F-9D43-D438-B0EBB3CDF488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2T08:52:00.202" v="3462" actId="962"/>
        <pc:sldMkLst>
          <pc:docMk/>
          <pc:sldMk cId="874496626" sldId="575"/>
        </pc:sldMkLst>
        <pc:spChg chg="mod">
          <ac:chgData name="Nivedha N A" userId="48795343-f4b0-4368-b9f1-c6e5f3910d48" providerId="ADAL" clId="{3E51CB64-41DE-4E99-AA61-015D66A9A29C}" dt="2025-09-02T08:51:31.297" v="3456" actId="20577"/>
          <ac:spMkLst>
            <pc:docMk/>
            <pc:sldMk cId="874496626" sldId="575"/>
            <ac:spMk id="2" creationId="{AD9F0902-B9E8-896B-324C-BE222D374437}"/>
          </ac:spMkLst>
        </pc:spChg>
        <pc:spChg chg="ord">
          <ac:chgData name="Nivedha N A" userId="48795343-f4b0-4368-b9f1-c6e5f3910d48" providerId="ADAL" clId="{3E51CB64-41DE-4E99-AA61-015D66A9A29C}" dt="2025-09-02T08:51:57.412" v="3460" actId="26606"/>
          <ac:spMkLst>
            <pc:docMk/>
            <pc:sldMk cId="874496626" sldId="575"/>
            <ac:spMk id="10" creationId="{AEF40793-6AFD-D608-59F4-86BB92BEFAEA}"/>
          </ac:spMkLst>
        </pc:spChg>
        <pc:picChg chg="add mod">
          <ac:chgData name="Nivedha N A" userId="48795343-f4b0-4368-b9f1-c6e5f3910d48" providerId="ADAL" clId="{3E51CB64-41DE-4E99-AA61-015D66A9A29C}" dt="2025-09-02T08:52:00.202" v="3462" actId="962"/>
          <ac:picMkLst>
            <pc:docMk/>
            <pc:sldMk cId="874496626" sldId="575"/>
            <ac:picMk id="5" creationId="{3AB58E22-D33D-6005-03D9-6C74CAE12253}"/>
          </ac:picMkLst>
        </pc:picChg>
      </pc:sldChg>
      <pc:sldChg chg="addSp modSp add mod ord">
        <pc:chgData name="Nivedha N A" userId="48795343-f4b0-4368-b9f1-c6e5f3910d48" providerId="ADAL" clId="{3E51CB64-41DE-4E99-AA61-015D66A9A29C}" dt="2025-09-04T07:13:35.229" v="4037" actId="1076"/>
        <pc:sldMkLst>
          <pc:docMk/>
          <pc:sldMk cId="3546195424" sldId="576"/>
        </pc:sldMkLst>
        <pc:spChg chg="mod">
          <ac:chgData name="Nivedha N A" userId="48795343-f4b0-4368-b9f1-c6e5f3910d48" providerId="ADAL" clId="{3E51CB64-41DE-4E99-AA61-015D66A9A29C}" dt="2025-09-04T07:02:23.785" v="3777" actId="20577"/>
          <ac:spMkLst>
            <pc:docMk/>
            <pc:sldMk cId="3546195424" sldId="576"/>
            <ac:spMk id="2" creationId="{FD577CFF-241D-FBD8-1045-BE0880F4DA4A}"/>
          </ac:spMkLst>
        </pc:spChg>
        <pc:spChg chg="add mod">
          <ac:chgData name="Nivedha N A" userId="48795343-f4b0-4368-b9f1-c6e5f3910d48" providerId="ADAL" clId="{3E51CB64-41DE-4E99-AA61-015D66A9A29C}" dt="2025-09-04T07:11:31.373" v="3838" actId="20577"/>
          <ac:spMkLst>
            <pc:docMk/>
            <pc:sldMk cId="3546195424" sldId="576"/>
            <ac:spMk id="5" creationId="{3DF9065D-C715-0BAE-4033-C61C8F638666}"/>
          </ac:spMkLst>
        </pc:spChg>
        <pc:spChg chg="mod">
          <ac:chgData name="Nivedha N A" userId="48795343-f4b0-4368-b9f1-c6e5f3910d48" providerId="ADAL" clId="{3E51CB64-41DE-4E99-AA61-015D66A9A29C}" dt="2025-09-04T07:10:59.320" v="3778" actId="14100"/>
          <ac:spMkLst>
            <pc:docMk/>
            <pc:sldMk cId="3546195424" sldId="576"/>
            <ac:spMk id="6" creationId="{E178A31A-4F37-D5F6-1D34-DD5BCE174798}"/>
          </ac:spMkLst>
        </pc:spChg>
        <pc:spChg chg="add mod">
          <ac:chgData name="Nivedha N A" userId="48795343-f4b0-4368-b9f1-c6e5f3910d48" providerId="ADAL" clId="{3E51CB64-41DE-4E99-AA61-015D66A9A29C}" dt="2025-09-04T07:13:35.229" v="4037" actId="1076"/>
          <ac:spMkLst>
            <pc:docMk/>
            <pc:sldMk cId="3546195424" sldId="576"/>
            <ac:spMk id="7" creationId="{260E21CC-E164-8D93-AC94-6704220FC999}"/>
          </ac:spMkLst>
        </pc:spChg>
      </pc:sldChg>
      <pc:sldChg chg="addSp delSp modSp add mod">
        <pc:chgData name="Nivedha N A" userId="48795343-f4b0-4368-b9f1-c6e5f3910d48" providerId="ADAL" clId="{3E51CB64-41DE-4E99-AA61-015D66A9A29C}" dt="2025-09-04T05:11:40.803" v="3566" actId="20577"/>
        <pc:sldMkLst>
          <pc:docMk/>
          <pc:sldMk cId="2239801809" sldId="577"/>
        </pc:sldMkLst>
        <pc:spChg chg="mod">
          <ac:chgData name="Nivedha N A" userId="48795343-f4b0-4368-b9f1-c6e5f3910d48" providerId="ADAL" clId="{3E51CB64-41DE-4E99-AA61-015D66A9A29C}" dt="2025-09-04T05:11:40.803" v="3566" actId="20577"/>
          <ac:spMkLst>
            <pc:docMk/>
            <pc:sldMk cId="2239801809" sldId="577"/>
            <ac:spMk id="2" creationId="{7F9C8B91-87E7-2889-090E-E46BA5435F1A}"/>
          </ac:spMkLst>
        </pc:spChg>
        <pc:picChg chg="add mod">
          <ac:chgData name="Nivedha N A" userId="48795343-f4b0-4368-b9f1-c6e5f3910d48" providerId="ADAL" clId="{3E51CB64-41DE-4E99-AA61-015D66A9A29C}" dt="2025-09-04T05:11:13.971" v="3542" actId="14100"/>
          <ac:picMkLst>
            <pc:docMk/>
            <pc:sldMk cId="2239801809" sldId="577"/>
            <ac:picMk id="1026" creationId="{F0E12A8F-6CF2-383B-FB94-6DE3E43C3E60}"/>
          </ac:picMkLst>
        </pc:picChg>
        <pc:picChg chg="del">
          <ac:chgData name="Nivedha N A" userId="48795343-f4b0-4368-b9f1-c6e5f3910d48" providerId="ADAL" clId="{3E51CB64-41DE-4E99-AA61-015D66A9A29C}" dt="2025-09-04T05:08:54.863" v="3534" actId="21"/>
          <ac:picMkLst>
            <pc:docMk/>
            <pc:sldMk cId="2239801809" sldId="577"/>
            <ac:picMk id="10242" creationId="{B08D7D45-2D3F-0607-148E-0562AD2CC012}"/>
          </ac:picMkLst>
        </pc:picChg>
      </pc:sldChg>
      <pc:sldChg chg="addSp delSp modSp add del mod ord">
        <pc:chgData name="Nivedha N A" userId="48795343-f4b0-4368-b9f1-c6e5f3910d48" providerId="ADAL" clId="{3E51CB64-41DE-4E99-AA61-015D66A9A29C}" dt="2025-09-04T06:59:59.987" v="3752" actId="2696"/>
        <pc:sldMkLst>
          <pc:docMk/>
          <pc:sldMk cId="588287756" sldId="578"/>
        </pc:sldMkLst>
        <pc:picChg chg="add del mod">
          <ac:chgData name="Nivedha N A" userId="48795343-f4b0-4368-b9f1-c6e5f3910d48" providerId="ADAL" clId="{3E51CB64-41DE-4E99-AA61-015D66A9A29C}" dt="2025-09-04T06:54:59.568" v="3733" actId="1076"/>
          <ac:picMkLst>
            <pc:docMk/>
            <pc:sldMk cId="588287756" sldId="578"/>
            <ac:picMk id="6" creationId="{81EF842E-A248-7C10-F9AE-05869CC6C420}"/>
          </ac:picMkLst>
        </pc:picChg>
        <pc:picChg chg="del">
          <ac:chgData name="Nivedha N A" userId="48795343-f4b0-4368-b9f1-c6e5f3910d48" providerId="ADAL" clId="{3E51CB64-41DE-4E99-AA61-015D66A9A29C}" dt="2025-09-04T06:54:57.641" v="3732" actId="21"/>
          <ac:picMkLst>
            <pc:docMk/>
            <pc:sldMk cId="588287756" sldId="578"/>
            <ac:picMk id="1026" creationId="{E48517EF-1C5D-F960-DD18-AD8C43AE46D1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4T07:01:26.682" v="3755"/>
        <pc:sldMkLst>
          <pc:docMk/>
          <pc:sldMk cId="1428981574" sldId="578"/>
        </pc:sldMkLst>
        <pc:spChg chg="del">
          <ac:chgData name="Nivedha N A" userId="48795343-f4b0-4368-b9f1-c6e5f3910d48" providerId="ADAL" clId="{3E51CB64-41DE-4E99-AA61-015D66A9A29C}" dt="2025-09-04T07:01:26.682" v="3755"/>
          <ac:spMkLst>
            <pc:docMk/>
            <pc:sldMk cId="1428981574" sldId="578"/>
            <ac:spMk id="6" creationId="{94F69DB4-AD56-5C4D-CA6B-D58AE82A6829}"/>
          </ac:spMkLst>
        </pc:spChg>
        <pc:picChg chg="del">
          <ac:chgData name="Nivedha N A" userId="48795343-f4b0-4368-b9f1-c6e5f3910d48" providerId="ADAL" clId="{3E51CB64-41DE-4E99-AA61-015D66A9A29C}" dt="2025-09-04T07:01:15.174" v="3754" actId="21"/>
          <ac:picMkLst>
            <pc:docMk/>
            <pc:sldMk cId="1428981574" sldId="578"/>
            <ac:picMk id="5" creationId="{2996E2A3-7DC3-E160-04CE-493EF02045F7}"/>
          </ac:picMkLst>
        </pc:picChg>
        <pc:picChg chg="add mod">
          <ac:chgData name="Nivedha N A" userId="48795343-f4b0-4368-b9f1-c6e5f3910d48" providerId="ADAL" clId="{3E51CB64-41DE-4E99-AA61-015D66A9A29C}" dt="2025-09-04T07:01:26.682" v="3755"/>
          <ac:picMkLst>
            <pc:docMk/>
            <pc:sldMk cId="1428981574" sldId="578"/>
            <ac:picMk id="2050" creationId="{8E7C6AA6-B143-FD7C-92B4-2CF96684BF77}"/>
          </ac:picMkLst>
        </pc:picChg>
      </pc:sldChg>
      <pc:sldChg chg="addSp delSp modSp add mod">
        <pc:chgData name="Nivedha N A" userId="48795343-f4b0-4368-b9f1-c6e5f3910d48" providerId="ADAL" clId="{3E51CB64-41DE-4E99-AA61-015D66A9A29C}" dt="2025-09-04T07:30:35.870" v="4088" actId="1076"/>
        <pc:sldMkLst>
          <pc:docMk/>
          <pc:sldMk cId="20709100" sldId="579"/>
        </pc:sldMkLst>
        <pc:spChg chg="mod">
          <ac:chgData name="Nivedha N A" userId="48795343-f4b0-4368-b9f1-c6e5f3910d48" providerId="ADAL" clId="{3E51CB64-41DE-4E99-AA61-015D66A9A29C}" dt="2025-09-04T07:17:02.287" v="4039"/>
          <ac:spMkLst>
            <pc:docMk/>
            <pc:sldMk cId="20709100" sldId="579"/>
            <ac:spMk id="2" creationId="{BB2961E1-423C-1277-7D45-F47FE0523E06}"/>
          </ac:spMkLst>
        </pc:spChg>
        <pc:spChg chg="add del mod">
          <ac:chgData name="Nivedha N A" userId="48795343-f4b0-4368-b9f1-c6e5f3910d48" providerId="ADAL" clId="{3E51CB64-41DE-4E99-AA61-015D66A9A29C}" dt="2025-09-04T07:30:35.870" v="4088" actId="1076"/>
          <ac:spMkLst>
            <pc:docMk/>
            <pc:sldMk cId="20709100" sldId="579"/>
            <ac:spMk id="5" creationId="{6BA039A2-05E3-B470-1A6F-50A18922C07C}"/>
          </ac:spMkLst>
        </pc:spChg>
        <pc:spChg chg="mod">
          <ac:chgData name="Nivedha N A" userId="48795343-f4b0-4368-b9f1-c6e5f3910d48" providerId="ADAL" clId="{3E51CB64-41DE-4E99-AA61-015D66A9A29C}" dt="2025-09-04T07:30:16.849" v="4086" actId="1076"/>
          <ac:spMkLst>
            <pc:docMk/>
            <pc:sldMk cId="20709100" sldId="579"/>
            <ac:spMk id="6" creationId="{2530A07A-2079-C05E-4819-88200AA197E1}"/>
          </ac:spMkLst>
        </pc:spChg>
        <pc:spChg chg="add del mod">
          <ac:chgData name="Nivedha N A" userId="48795343-f4b0-4368-b9f1-c6e5f3910d48" providerId="ADAL" clId="{3E51CB64-41DE-4E99-AA61-015D66A9A29C}" dt="2025-09-04T07:24:23.080" v="4061" actId="21"/>
          <ac:spMkLst>
            <pc:docMk/>
            <pc:sldMk cId="20709100" sldId="579"/>
            <ac:spMk id="7" creationId="{7EDFDA3A-1FB9-7025-2FCB-2DC3E1D7E939}"/>
          </ac:spMkLst>
        </pc:spChg>
        <pc:spChg chg="add">
          <ac:chgData name="Nivedha N A" userId="48795343-f4b0-4368-b9f1-c6e5f3910d48" providerId="ADAL" clId="{3E51CB64-41DE-4E99-AA61-015D66A9A29C}" dt="2025-09-04T07:19:17.686" v="4044"/>
          <ac:spMkLst>
            <pc:docMk/>
            <pc:sldMk cId="20709100" sldId="579"/>
            <ac:spMk id="8" creationId="{157E629A-206E-15E0-9113-D3FE3BD637C6}"/>
          </ac:spMkLst>
        </pc:spChg>
        <pc:spChg chg="add">
          <ac:chgData name="Nivedha N A" userId="48795343-f4b0-4368-b9f1-c6e5f3910d48" providerId="ADAL" clId="{3E51CB64-41DE-4E99-AA61-015D66A9A29C}" dt="2025-09-04T07:22:58.037" v="4048"/>
          <ac:spMkLst>
            <pc:docMk/>
            <pc:sldMk cId="20709100" sldId="579"/>
            <ac:spMk id="9" creationId="{1F476878-054F-D3CB-38E9-911E2E8343C3}"/>
          </ac:spMkLst>
        </pc:spChg>
        <pc:spChg chg="add del mod">
          <ac:chgData name="Nivedha N A" userId="48795343-f4b0-4368-b9f1-c6e5f3910d48" providerId="ADAL" clId="{3E51CB64-41DE-4E99-AA61-015D66A9A29C}" dt="2025-09-04T07:24:20.831" v="4060" actId="21"/>
          <ac:spMkLst>
            <pc:docMk/>
            <pc:sldMk cId="20709100" sldId="579"/>
            <ac:spMk id="11" creationId="{D822E1BA-E160-AD92-9917-973C5C08A319}"/>
          </ac:spMkLst>
        </pc:spChg>
        <pc:spChg chg="add mod">
          <ac:chgData name="Nivedha N A" userId="48795343-f4b0-4368-b9f1-c6e5f3910d48" providerId="ADAL" clId="{3E51CB64-41DE-4E99-AA61-015D66A9A29C}" dt="2025-09-04T07:30:28.480" v="4087" actId="14100"/>
          <ac:spMkLst>
            <pc:docMk/>
            <pc:sldMk cId="20709100" sldId="579"/>
            <ac:spMk id="12" creationId="{81A8FA8E-0934-0A61-3B45-1421D5EDBB81}"/>
          </ac:spMkLst>
        </pc:spChg>
        <pc:picChg chg="add mod">
          <ac:chgData name="Nivedha N A" userId="48795343-f4b0-4368-b9f1-c6e5f3910d48" providerId="ADAL" clId="{3E51CB64-41DE-4E99-AA61-015D66A9A29C}" dt="2025-09-04T07:29:55.718" v="4085" actId="1076"/>
          <ac:picMkLst>
            <pc:docMk/>
            <pc:sldMk cId="20709100" sldId="579"/>
            <ac:picMk id="14" creationId="{726E0038-00EE-5B69-46C0-E7D7EC440B30}"/>
          </ac:picMkLst>
        </pc:picChg>
      </pc:sldChg>
      <pc:sldChg chg="addSp delSp modSp add del mod">
        <pc:chgData name="Nivedha N A" userId="48795343-f4b0-4368-b9f1-c6e5f3910d48" providerId="ADAL" clId="{3E51CB64-41DE-4E99-AA61-015D66A9A29C}" dt="2025-09-04T06:59:56.531" v="3751" actId="2696"/>
        <pc:sldMkLst>
          <pc:docMk/>
          <pc:sldMk cId="4093915870" sldId="579"/>
        </pc:sldMkLst>
        <pc:spChg chg="del">
          <ac:chgData name="Nivedha N A" userId="48795343-f4b0-4368-b9f1-c6e5f3910d48" providerId="ADAL" clId="{3E51CB64-41DE-4E99-AA61-015D66A9A29C}" dt="2025-09-04T06:58:22.470" v="3737" actId="21"/>
          <ac:spMkLst>
            <pc:docMk/>
            <pc:sldMk cId="4093915870" sldId="579"/>
            <ac:spMk id="2" creationId="{FEF80258-1985-8B0B-DCDE-26471CFD6276}"/>
          </ac:spMkLst>
        </pc:spChg>
        <pc:spChg chg="add del mod">
          <ac:chgData name="Nivedha N A" userId="48795343-f4b0-4368-b9f1-c6e5f3910d48" providerId="ADAL" clId="{3E51CB64-41DE-4E99-AA61-015D66A9A29C}" dt="2025-09-04T06:58:26.846" v="3738" actId="21"/>
          <ac:spMkLst>
            <pc:docMk/>
            <pc:sldMk cId="4093915870" sldId="579"/>
            <ac:spMk id="7" creationId="{C95E2484-C68E-789F-B213-44C58091EB9E}"/>
          </ac:spMkLst>
        </pc:spChg>
        <pc:picChg chg="mod">
          <ac:chgData name="Nivedha N A" userId="48795343-f4b0-4368-b9f1-c6e5f3910d48" providerId="ADAL" clId="{3E51CB64-41DE-4E99-AA61-015D66A9A29C}" dt="2025-09-04T06:58:33.954" v="3740" actId="1076"/>
          <ac:picMkLst>
            <pc:docMk/>
            <pc:sldMk cId="4093915870" sldId="579"/>
            <ac:picMk id="6" creationId="{A4A7584C-7D1F-941B-FFDB-6CEA4AE5174A}"/>
          </ac:picMkLst>
        </pc:picChg>
      </pc:sldChg>
      <pc:sldChg chg="addSp delSp modSp add mod ord">
        <pc:chgData name="Nivedha N A" userId="48795343-f4b0-4368-b9f1-c6e5f3910d48" providerId="ADAL" clId="{3E51CB64-41DE-4E99-AA61-015D66A9A29C}" dt="2025-09-04T07:43:32.953" v="4256" actId="20577"/>
        <pc:sldMkLst>
          <pc:docMk/>
          <pc:sldMk cId="3979886337" sldId="580"/>
        </pc:sldMkLst>
        <pc:spChg chg="mod">
          <ac:chgData name="Nivedha N A" userId="48795343-f4b0-4368-b9f1-c6e5f3910d48" providerId="ADAL" clId="{3E51CB64-41DE-4E99-AA61-015D66A9A29C}" dt="2025-09-04T07:43:32.953" v="4256" actId="20577"/>
          <ac:spMkLst>
            <pc:docMk/>
            <pc:sldMk cId="3979886337" sldId="580"/>
            <ac:spMk id="2" creationId="{50211BFA-D233-4911-6BB0-1CBB1DE72D46}"/>
          </ac:spMkLst>
        </pc:spChg>
        <pc:spChg chg="del">
          <ac:chgData name="Nivedha N A" userId="48795343-f4b0-4368-b9f1-c6e5f3910d48" providerId="ADAL" clId="{3E51CB64-41DE-4E99-AA61-015D66A9A29C}" dt="2025-09-04T07:34:14.811" v="4147" actId="21"/>
          <ac:spMkLst>
            <pc:docMk/>
            <pc:sldMk cId="3979886337" sldId="580"/>
            <ac:spMk id="5" creationId="{B46B6A78-4951-A2AA-D47A-5FB8DFC8AA6A}"/>
          </ac:spMkLst>
        </pc:spChg>
        <pc:spChg chg="mod">
          <ac:chgData name="Nivedha N A" userId="48795343-f4b0-4368-b9f1-c6e5f3910d48" providerId="ADAL" clId="{3E51CB64-41DE-4E99-AA61-015D66A9A29C}" dt="2025-09-04T07:42:38.107" v="4232" actId="113"/>
          <ac:spMkLst>
            <pc:docMk/>
            <pc:sldMk cId="3979886337" sldId="580"/>
            <ac:spMk id="6" creationId="{5FFF152C-81F5-D4A7-47B1-E4BD334DCC59}"/>
          </ac:spMkLst>
        </pc:spChg>
        <pc:spChg chg="del">
          <ac:chgData name="Nivedha N A" userId="48795343-f4b0-4368-b9f1-c6e5f3910d48" providerId="ADAL" clId="{3E51CB64-41DE-4E99-AA61-015D66A9A29C}" dt="2025-09-04T07:35:55.909" v="4179" actId="21"/>
          <ac:spMkLst>
            <pc:docMk/>
            <pc:sldMk cId="3979886337" sldId="580"/>
            <ac:spMk id="7" creationId="{B5403D97-41B6-F29E-65DF-3F5DB2CFAC4B}"/>
          </ac:spMkLst>
        </pc:spChg>
        <pc:spChg chg="add del mod">
          <ac:chgData name="Nivedha N A" userId="48795343-f4b0-4368-b9f1-c6e5f3910d48" providerId="ADAL" clId="{3E51CB64-41DE-4E99-AA61-015D66A9A29C}" dt="2025-09-04T07:34:18.466" v="4148" actId="21"/>
          <ac:spMkLst>
            <pc:docMk/>
            <pc:sldMk cId="3979886337" sldId="580"/>
            <ac:spMk id="9" creationId="{480DEC5F-130D-AB8A-CB0B-52A943A6E906}"/>
          </ac:spMkLst>
        </pc:spChg>
        <pc:spChg chg="add mod">
          <ac:chgData name="Nivedha N A" userId="48795343-f4b0-4368-b9f1-c6e5f3910d48" providerId="ADAL" clId="{3E51CB64-41DE-4E99-AA61-015D66A9A29C}" dt="2025-09-04T07:34:30.022" v="4152"/>
          <ac:spMkLst>
            <pc:docMk/>
            <pc:sldMk cId="3979886337" sldId="580"/>
            <ac:spMk id="10" creationId="{480DEC5F-130D-AB8A-CB0B-52A943A6E906}"/>
          </ac:spMkLst>
        </pc:spChg>
        <pc:spChg chg="add">
          <ac:chgData name="Nivedha N A" userId="48795343-f4b0-4368-b9f1-c6e5f3910d48" providerId="ADAL" clId="{3E51CB64-41DE-4E99-AA61-015D66A9A29C}" dt="2025-09-04T07:42:09.266" v="4228"/>
          <ac:spMkLst>
            <pc:docMk/>
            <pc:sldMk cId="3979886337" sldId="580"/>
            <ac:spMk id="11" creationId="{4BF3430A-453E-DF68-5270-6BB670997833}"/>
          </ac:spMkLst>
        </pc:spChg>
      </pc:sldChg>
      <pc:sldChg chg="addSp delSp modSp add mod ord">
        <pc:chgData name="Nivedha N A" userId="48795343-f4b0-4368-b9f1-c6e5f3910d48" providerId="ADAL" clId="{3E51CB64-41DE-4E99-AA61-015D66A9A29C}" dt="2025-09-04T07:41:47.340" v="4226" actId="20577"/>
        <pc:sldMkLst>
          <pc:docMk/>
          <pc:sldMk cId="2067814136" sldId="581"/>
        </pc:sldMkLst>
        <pc:spChg chg="mod">
          <ac:chgData name="Nivedha N A" userId="48795343-f4b0-4368-b9f1-c6e5f3910d48" providerId="ADAL" clId="{3E51CB64-41DE-4E99-AA61-015D66A9A29C}" dt="2025-09-04T07:41:47.340" v="4226" actId="20577"/>
          <ac:spMkLst>
            <pc:docMk/>
            <pc:sldMk cId="2067814136" sldId="581"/>
            <ac:spMk id="2" creationId="{04AD7F02-6938-A516-53B9-37571BCF58A8}"/>
          </ac:spMkLst>
        </pc:spChg>
        <pc:picChg chg="add mod">
          <ac:chgData name="Nivedha N A" userId="48795343-f4b0-4368-b9f1-c6e5f3910d48" providerId="ADAL" clId="{3E51CB64-41DE-4E99-AA61-015D66A9A29C}" dt="2025-09-04T07:41:31.252" v="4207" actId="1076"/>
          <ac:picMkLst>
            <pc:docMk/>
            <pc:sldMk cId="2067814136" sldId="581"/>
            <ac:picMk id="6" creationId="{636EF97C-CF0D-E443-BF79-32B022ED5990}"/>
          </ac:picMkLst>
        </pc:picChg>
        <pc:picChg chg="del">
          <ac:chgData name="Nivedha N A" userId="48795343-f4b0-4368-b9f1-c6e5f3910d48" providerId="ADAL" clId="{3E51CB64-41DE-4E99-AA61-015D66A9A29C}" dt="2025-09-04T07:41:16.508" v="4202" actId="21"/>
          <ac:picMkLst>
            <pc:docMk/>
            <pc:sldMk cId="2067814136" sldId="581"/>
            <ac:picMk id="1026" creationId="{405B3C4E-2A3A-2551-A185-C592D3092B3E}"/>
          </ac:picMkLst>
        </pc:picChg>
      </pc:sldChg>
      <pc:sldChg chg="del">
        <pc:chgData name="Nivedha N A" userId="48795343-f4b0-4368-b9f1-c6e5f3910d48" providerId="ADAL" clId="{3E51CB64-41DE-4E99-AA61-015D66A9A29C}" dt="2025-09-01T10:06:09.732" v="99" actId="2696"/>
        <pc:sldMkLst>
          <pc:docMk/>
          <pc:sldMk cId="3774469157" sldId="615"/>
        </pc:sldMkLst>
      </pc:sldChg>
      <pc:sldChg chg="del">
        <pc:chgData name="Nivedha N A" userId="48795343-f4b0-4368-b9f1-c6e5f3910d48" providerId="ADAL" clId="{3E51CB64-41DE-4E99-AA61-015D66A9A29C}" dt="2025-09-01T10:06:12.140" v="100" actId="2696"/>
        <pc:sldMkLst>
          <pc:docMk/>
          <pc:sldMk cId="2924933890" sldId="616"/>
        </pc:sldMkLst>
      </pc:sldChg>
      <pc:sldMasterChg chg="delSldLayout">
        <pc:chgData name="Nivedha N A" userId="48795343-f4b0-4368-b9f1-c6e5f3910d48" providerId="ADAL" clId="{3E51CB64-41DE-4E99-AA61-015D66A9A29C}" dt="2025-09-02T13:54:55.730" v="3525" actId="2696"/>
        <pc:sldMasterMkLst>
          <pc:docMk/>
          <pc:sldMasterMk cId="901074324" sldId="2147483660"/>
        </pc:sldMasterMkLst>
        <pc:sldLayoutChg chg="del">
          <pc:chgData name="Nivedha N A" userId="48795343-f4b0-4368-b9f1-c6e5f3910d48" providerId="ADAL" clId="{3E51CB64-41DE-4E99-AA61-015D66A9A29C}" dt="2025-09-02T13:54:55.730" v="3525" actId="2696"/>
          <pc:sldLayoutMkLst>
            <pc:docMk/>
            <pc:sldMasterMk cId="901074324" sldId="2147483660"/>
            <pc:sldLayoutMk cId="1061102630" sldId="214748378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2AD108A-B93D-476C-97D1-532FA7C820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310D62-412C-410A-AAA0-4E5D49329F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174857-E93A-404B-BD8C-92A5C3CF863C}" type="datetimeFigureOut">
              <a:rPr lang="de-DE" smtClean="0">
                <a:latin typeface="Segoe UI" panose="020B0502040204020203" pitchFamily="34" charset="0"/>
              </a:rPr>
              <a:t>04.09.2025</a:t>
            </a:fld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392DAE0-2311-4972-84AD-6A347CDE0EC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Segoe UI" panose="020B0502040204020203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1FF86D-3363-45E1-9048-5290E10CC3B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B4E8B-BF1F-423A-AB25-E744821B17F8}" type="slidenum">
              <a:rPr lang="de-DE" smtClean="0">
                <a:latin typeface="Segoe UI" panose="020B0502040204020203" pitchFamily="34" charset="0"/>
              </a:rPr>
              <a:t>‹#›</a:t>
            </a:fld>
            <a:endParaRPr lang="de-DE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7093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B0D8E98B-53F8-46DC-81BC-9BFFDEE194FB}" type="datetimeFigureOut">
              <a:rPr lang="en-US" noProof="0" smtClean="0"/>
              <a:pPr/>
              <a:t>9/4/2025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630237"/>
            <a:ext cx="5483225" cy="30861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3887785"/>
            <a:ext cx="5486400" cy="462597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First level, Segoe UI, 12p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Segoe UI" panose="020B0502040204020203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Segoe UI" panose="020B0502040204020203" pitchFamily="34" charset="0"/>
              </a:defRPr>
            </a:lvl1pPr>
          </a:lstStyle>
          <a:p>
            <a:fld id="{7CBF4CD1-0CF9-4B7D-A16D-4B6EB45F6A4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07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62000" indent="-162000" algn="l" defTabSz="914400" rtl="0" eaLnBrk="1" latinLnBrk="0" hangingPunct="1">
      <a:buClr>
        <a:schemeClr val="accent1"/>
      </a:buClr>
      <a:buSzPct val="100000"/>
      <a:buFont typeface="Wingdings" panose="05000000000000000000" pitchFamily="2" charset="2"/>
      <a:buChar char="§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522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90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458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926000" indent="-162000" algn="l" defTabSz="914400" rtl="0" eaLnBrk="1" latinLnBrk="0" hangingPunct="1">
      <a:buClr>
        <a:schemeClr val="accent1"/>
      </a:buClr>
      <a:buSzPct val="100000"/>
      <a:buFont typeface="GT Flexa Rg" pitchFamily="2" charset="0"/>
      <a:buChar char="–"/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0110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901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474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8325D-5232-CBBC-AEEF-9CAC5EC32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F5E65D-82BF-B3EE-F0CD-327CAC7C90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B27B12-0ACD-B3BE-04E6-76A60208CB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C3187D-6206-84CB-9F1D-07976BD4AD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190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371D0-F093-2EB0-67C2-4278D8F174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747E159-4C2F-8DE5-0428-DFE058561C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8ABB3E3-B685-61F7-6685-BE71DC3FF5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EEEB39-E893-14D3-2BA9-D1B90C271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504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163A0A-E763-2F09-4649-FFF558B10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6F4BC65-F908-5A37-8291-D35AE6D256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960BF7-926A-9011-5B41-CCA8FF5C9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000C63-F403-BD1F-27D8-88EB56545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9056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8850B-A562-D8B2-CEA4-3847D50A0C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51CEE87-4B9F-1381-95F0-A0A5994F7E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B58230-692A-7827-ACFA-0D9A813F1B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897188-0ECC-56ED-9DC1-BA1A88F61B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348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15918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E686C6-FB94-F49C-C202-097CA67D7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E42015E-8FAE-7DAC-BF0E-3E25F2A9F5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7388" y="630238"/>
            <a:ext cx="5483225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AD9A05F-6C33-26DC-BA88-0A341E5F2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3EF2B-0F47-9108-09FA-61F5778D79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BF4CD1-0CF9-4B7D-A16D-4B6EB45F6A4C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969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79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057681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882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09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743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17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9977172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41446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48DF53-2AA0-4D9F-A482-C8247EE21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48DF53-2AA0-4D9F-A482-C8247EE21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Grafik 8">
            <a:extLst>
              <a:ext uri="{FF2B5EF4-FFF2-40B4-BE49-F238E27FC236}">
                <a16:creationId xmlns:a16="http://schemas.microsoft.com/office/drawing/2014/main" id="{EC2333C9-7C64-4C37-8085-3482C25F21FB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5534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DE717E-46C1-446C-AC0A-112EF61AB8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DE717E-46C1-446C-AC0A-112EF61AB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512961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A18A666-963B-452E-AD8E-146C9F2ACCD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773889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04FCD6D-FEBB-4B98-A8C4-8431CC99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9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04FCD6D-FEBB-4B98-A8C4-8431CC99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4AB2A2-5C36-4389-B017-BFC52E120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5180" y="3485339"/>
            <a:ext cx="2446020" cy="326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90000" tIns="43200" rIns="90000" bIns="43200" anchor="ctr">
            <a:spAutoFit/>
          </a:bodyPr>
          <a:lstStyle>
            <a:lvl1pPr marL="0" indent="0" algn="ctr">
              <a:buNone/>
              <a:defRPr sz="9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Find Out more on henkel.com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8C3A2EF6-6C94-4211-862D-30B55989F42C}"/>
              </a:ext>
            </a:extLst>
          </p:cNvPr>
          <p:cNvSpPr/>
          <p:nvPr userDrawn="1"/>
        </p:nvSpPr>
        <p:spPr bwMode="gray">
          <a:xfrm>
            <a:off x="3552350" y="1677370"/>
            <a:ext cx="2017870" cy="1125096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6952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5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C7FC146F-8647-4DFB-A98F-113345264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01BF756-A092-4664-A90D-C8A1CD33A9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9066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6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84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147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B3D9F52-0B6D-4547-AF18-EBEAA3D5E55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EDD65B7E-6040-41A8-A16D-05D3AEB068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125718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57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867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30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3449E0-CEB3-4C53-976C-0734C47EA55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B6C3185-E1E7-43BF-BD7C-7DF1B7768DE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54730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71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8664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14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A4EA6A3-1751-425A-9487-70CE502884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2277825A-FEB6-4466-BA6B-EBB1C70D31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35521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5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017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036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BA0DD509-B738-4671-8F78-20AAE2CDA5E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1FAABEB8-81DC-419C-8394-06085D9E248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1847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out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0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9F91883-D766-4AAC-90B7-69A91534ED46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PrEsentation</a:t>
            </a:r>
            <a:r>
              <a:rPr lang="en-US" dirty="0"/>
              <a:t>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D74BD4FA-483E-40DF-8079-45B5BE2F7DF2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5B69B33-5E60-4C3B-AAD7-7D7122C27D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37E4806C-BD18-4D90-B0E2-E72442B67C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985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53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405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838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A91B005A-8220-48D4-B553-056F8953FC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CD252B3-C0F4-4966-ABC7-4D25D3A9CA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43003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39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8704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59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8C3FDDC2-8DC2-466D-9F5C-90CA7A4923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7F7A5A2-C1FC-4B22-A850-FB8A5DF6235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65982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78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7622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61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1BE8A37-8162-4CAE-BD0C-5619002136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8DDB3A38-E08B-4242-9771-6BD1A596F9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37897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966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985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28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9E0B457A-2C7B-4D8B-B0CE-5A239865D5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B0B4E035-3347-4C5E-8B56-4A09B3AF5A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01218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09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8652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74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57DA8024-86D7-42BE-9453-625CDA9BDA4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EC617B1-073A-444A-AC02-4ADF3782DE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452072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red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752D80-65D7-41FB-9C4B-3947D0C43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7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752D80-65D7-41FB-9C4B-3947D0C43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/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923790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6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89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49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0616784-71D5-4539-BD85-050D2DF5C3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5814BA38-9E60-4374-ADCB-F7D6526F81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555411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8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727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641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2D539E2E-F4B3-4C70-ACF7-A9231130E36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18D4241-549D-43A0-8E29-A01969CE91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240542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9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266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35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1" name="Bildplatzhalter 14">
            <a:extLst>
              <a:ext uri="{FF2B5EF4-FFF2-40B4-BE49-F238E27FC236}">
                <a16:creationId xmlns:a16="http://schemas.microsoft.com/office/drawing/2014/main" id="{D852C848-C659-49BA-8563-14F594D465F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54F89500-C6C2-41FE-9AB7-437D988992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593516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9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8599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1492250"/>
            <a:ext cx="7091363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7" y="1904999"/>
            <a:ext cx="7091363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9399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55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00	Topic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F18E8CB-CD03-40C6-B7D1-87326F397A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3048000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0460794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3D90E7-A664-4226-8164-AD537C10FD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21717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21717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F7F08D6-CCB1-4EE6-B8BB-4FBC4A856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195638" y="1492250"/>
            <a:ext cx="2176462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904999"/>
            <a:ext cx="2176462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6528EAF-06EF-4E10-9756-97CCFAF215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096000" y="1492250"/>
            <a:ext cx="2174876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6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904999"/>
            <a:ext cx="2174875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756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, white wr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389BCF4-C99D-48D8-9A74-2007D279C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76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389BCF4-C99D-48D8-9A74-2007D279C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rafik 8">
            <a:extLst>
              <a:ext uri="{FF2B5EF4-FFF2-40B4-BE49-F238E27FC236}">
                <a16:creationId xmlns:a16="http://schemas.microsoft.com/office/drawing/2014/main" id="{FD4CCEA9-2FCB-4868-B0FB-5518BA95DE56}"/>
              </a:ext>
            </a:extLst>
          </p:cNvPr>
          <p:cNvSpPr/>
          <p:nvPr userDrawn="1"/>
        </p:nvSpPr>
        <p:spPr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A67207-ECFF-4FE5-8129-B630D87FA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20050" y="4381363"/>
            <a:ext cx="822325" cy="45850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 rtl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038" y="792000"/>
            <a:ext cx="6858000" cy="1731243"/>
          </a:xfrm>
        </p:spPr>
        <p:txBody>
          <a:bodyPr vert="horz" anchor="t">
            <a:spAutoFit/>
          </a:bodyPr>
          <a:lstStyle>
            <a:lvl1pPr algn="l" rtl="0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5pt, </a:t>
            </a:r>
            <a:br>
              <a:rPr lang="en-US" dirty="0"/>
            </a:br>
            <a:r>
              <a:rPr lang="en-US" dirty="0"/>
              <a:t>max. three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0038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</p:spTree>
    <p:extLst>
      <p:ext uri="{BB962C8B-B14F-4D97-AF65-F5344CB8AC3E}">
        <p14:creationId xmlns:p14="http://schemas.microsoft.com/office/powerpoint/2010/main" val="1293678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8">
            <a:extLst>
              <a:ext uri="{FF2B5EF4-FFF2-40B4-BE49-F238E27FC236}">
                <a16:creationId xmlns:a16="http://schemas.microsoft.com/office/drawing/2014/main" id="{681CA2B5-B3EC-EFD0-0165-287FB94747FE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E9C5768F-A271-0CD9-016B-E33207FD3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51BC0A0F-BCA0-884E-FEC9-058147DBD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0BF5F6B-6587-BDA8-247B-5561F18202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069108" y="149225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2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A2E040A5-7BEB-D530-C6AA-370B415C84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69108" y="190499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9D549421-13D5-1A97-7588-7756D665CB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50878" y="1498601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3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EBC5DC18-F45D-484B-99C2-E4D52B69F6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50878" y="1911350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3CE7AE54-6D0D-3CE5-41E0-4CC80C2443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19254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4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86F0B5B2-D93A-A803-4782-3186BCD252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19254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C2FD2604-576A-5D04-1FC5-EC66519248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393633" y="1498600"/>
            <a:ext cx="1447800" cy="25109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None/>
              <a:defRPr sz="1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tegory 5</a:t>
            </a:r>
          </a:p>
        </p:txBody>
      </p:sp>
      <p:sp>
        <p:nvSpPr>
          <p:cNvPr id="33" name="Textplatzhalter 16">
            <a:extLst>
              <a:ext uri="{FF2B5EF4-FFF2-40B4-BE49-F238E27FC236}">
                <a16:creationId xmlns:a16="http://schemas.microsoft.com/office/drawing/2014/main" id="{DFF3E3DD-53BE-A21A-0CC1-229C83FF6F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93633" y="1911349"/>
            <a:ext cx="1447800" cy="2466975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4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 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489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E814652-240D-4F3F-B8D8-CF0E1C51C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441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E814652-240D-4F3F-B8D8-CF0E1C51C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F31E03E-0B84-42DF-96D6-866220F9066A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A679F-C7D2-4BA6-A63E-287E73B66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genda, Segoe UI, 24p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F1B3BC-E1C5-495F-B01F-658F5D13A2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9B6B11-6DED-47D3-B608-B7871E838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84B4407D-2B3F-4077-A520-E90EBFC11948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27D352A-1990-4E23-B2FC-3A6ECBA037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1492251"/>
            <a:ext cx="2171700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1EE2EFD-A7A9-4EBA-AB73-3F7AC5BF7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95638" y="1492251"/>
            <a:ext cx="2176462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66E84559-1973-4240-B47D-733F095B8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6000" y="1492251"/>
            <a:ext cx="2174875" cy="2879724"/>
          </a:xfrm>
        </p:spPr>
        <p:txBody>
          <a:bodyPr>
            <a:noAutofit/>
          </a:bodyPr>
          <a:lstStyle>
            <a:lvl1pPr marL="0" indent="0" rtl="0">
              <a:spcAft>
                <a:spcPts val="900"/>
              </a:spcAft>
              <a:buNone/>
              <a:tabLst>
                <a:tab pos="723900" algn="l"/>
              </a:tabLst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6858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100000"/>
              <a:buFont typeface="GT Flexa Rg" pitchFamily="2" charset="0"/>
              <a:buNone/>
              <a:tabLst>
                <a:tab pos="723900" algn="l"/>
              </a:tabLst>
              <a:defRPr/>
            </a:pPr>
            <a:r>
              <a:rPr lang="en-US" dirty="0"/>
              <a:t>00	Top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0109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48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838982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AB7100B-7991-48A5-9EB9-E14CDAF88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24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AB7100B-7991-48A5-9EB9-E14CDAF88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4A0FEDB5-55F9-4E87-8B03-149544ABDF68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AEC7E7D-A48B-4845-9B3C-BCF4ED6EBA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9" name="Grafik 8">
            <a:extLst>
              <a:ext uri="{FF2B5EF4-FFF2-40B4-BE49-F238E27FC236}">
                <a16:creationId xmlns:a16="http://schemas.microsoft.com/office/drawing/2014/main" id="{E090A17D-1ADA-4C44-BB80-67CAA3C46B3E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90086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BC2A01-E2BE-4156-8757-2C2BD7738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16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BC2A01-E2BE-4156-8757-2C2BD7738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7091362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7091362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87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C2AE64E-F763-43E8-B948-FA922006A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444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C2AE64E-F763-43E8-B948-FA922006A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75904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642938"/>
            <a:ext cx="2475694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53567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+ margin colum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3AA824B-4E89-41EC-8BF6-3AD4211A3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08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3AA824B-4E89-41EC-8BF6-3AD4211A3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096000" y="0"/>
            <a:ext cx="3048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0038" y="2040340"/>
            <a:ext cx="564118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0"/>
            <a:ext cx="3048000" cy="2572544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366681" y="2816698"/>
            <a:ext cx="2474107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66681" y="3183732"/>
            <a:ext cx="2475694" cy="1188244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656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2337D2E-40FD-4DFC-A64D-11F24C4DE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95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2337D2E-40FD-4DFC-A64D-11F24C4DE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Ebene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15174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2BA29D9-2E45-4D20-9CC6-912FB3599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4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2BA29D9-2E45-4D20-9CC6-912FB3599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B1C7942-B3D3-4A92-ADA0-4EE61A866B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6612" y="0"/>
            <a:ext cx="44973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391906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3919060" cy="188321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832971"/>
            <a:ext cx="3919060" cy="253900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5392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8230CB-E2F4-40C5-9C78-3586D0387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7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8230CB-E2F4-40C5-9C78-3586D0387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97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, 3:9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2CD0F60-54F1-4706-9782-ECB2DFD90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94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2CD0F60-54F1-4706-9782-ECB2DFD90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FF86CBD-3364-4092-8856-8EC6D722C1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78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, 9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C1BA4EA-FFD8-48F8-8F25-E109FBD24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9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C1BA4EA-FFD8-48F8-8F25-E109FBD24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2061ABB-95F0-4F98-908C-BBEE7A944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667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EBA6552-EDE0-43A1-872A-5D55F492E5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67500" y="0"/>
            <a:ext cx="2476500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8181369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21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B63E13F-EA80-4906-83BE-4F928DDD7D2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6668306" cy="514508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668306" y="0"/>
            <a:ext cx="2475694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71912" y="275904"/>
            <a:ext cx="1868876" cy="188321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2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72299" y="642938"/>
            <a:ext cx="1870075" cy="372903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5784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E3FC7EB-ADE5-443B-9A42-367A15378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023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E3FC7EB-ADE5-443B-9A42-367A15378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5641180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5641180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2743200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6A4363-F616-4407-B686-AA221CB705E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9900" y="0"/>
            <a:ext cx="2324100" cy="342900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57BE55-A82C-43C5-BC22-EC149179F2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95638" y="2040339"/>
            <a:ext cx="2743200" cy="233163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4AD7E66-3095-412B-BE5D-B315C13255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19900" y="3429000"/>
            <a:ext cx="2324100" cy="1716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215527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diagr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3AC4753-D114-477D-A7FB-1390A2494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486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3AC4753-D114-477D-A7FB-1390A2494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A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4E4E41-C1A8-4AFE-89E9-54339DC330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91101" y="306387"/>
            <a:ext cx="3851274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Diagram title, Segoe UI, 12p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4D4C68-FDFC-4FE6-A3A0-24378231A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1101" y="652858"/>
            <a:ext cx="3851274" cy="265907"/>
          </a:xfrm>
        </p:spPr>
        <p:txBody>
          <a:bodyPr>
            <a:noAutofit/>
          </a:bodyPr>
          <a:lstStyle>
            <a:lvl1pPr marL="0" indent="0" rtl="0">
              <a:buNone/>
              <a:defRPr sz="800"/>
            </a:lvl1pPr>
          </a:lstStyle>
          <a:p>
            <a:pPr lvl="0"/>
            <a:r>
              <a:rPr lang="en-US" dirty="0"/>
              <a:t>Description Diagram, Segoe UI, 8pt</a:t>
            </a:r>
          </a:p>
        </p:txBody>
      </p:sp>
      <p:sp>
        <p:nvSpPr>
          <p:cNvPr id="15" name="Diagrammplatzhalter 14">
            <a:extLst>
              <a:ext uri="{FF2B5EF4-FFF2-40B4-BE49-F238E27FC236}">
                <a16:creationId xmlns:a16="http://schemas.microsoft.com/office/drawing/2014/main" id="{20B37BD7-45FF-41A0-AB59-B76A319E6D94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991100" y="1076916"/>
            <a:ext cx="3851273" cy="3295060"/>
          </a:xfrm>
        </p:spPr>
        <p:txBody>
          <a:bodyPr/>
          <a:lstStyle>
            <a:lvl1pPr marL="0" indent="0" rtl="0">
              <a:buNone/>
              <a:defRPr sz="800"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13D4DFC2-F6C7-49FF-AB28-76635678DC07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07513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165371-590F-40AB-9425-F5684413E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11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165371-590F-40AB-9425-F5684413E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618DC39-80CC-4F5E-8FB8-24DAE4535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7A86BD-6A47-4B6A-BA1B-DCCC0C012F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879D3C-EBE0-4AE4-8301-1247E1CF7D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18B60FF-2FC8-470D-A7A3-EC2AD45DA3B1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 bwMode="gray">
          <a:xfrm>
            <a:off x="3000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3C30865-6727-4E30-BE8D-6E3CE051C0A7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3195638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0A7EB19F-EEBD-412C-AC27-DD00650D0913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100763" y="1492250"/>
            <a:ext cx="2743200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diagram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2701712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8CB916D-D210-4BC5-AA19-30E94CD9E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329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8CB916D-D210-4BC5-AA19-30E94CD9E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0CFC28F-EC47-4DDB-8C5D-03309FB39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EFA14A-D6E7-47FF-924E-E4CB909803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0A9710-C66C-461A-BEF7-CAD1B717F3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abellenplatzhalter 5">
            <a:extLst>
              <a:ext uri="{FF2B5EF4-FFF2-40B4-BE49-F238E27FC236}">
                <a16:creationId xmlns:a16="http://schemas.microsoft.com/office/drawing/2014/main" id="{B7A2A10A-2613-4F52-86A9-C634AD0C4E6E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300038" y="1492250"/>
            <a:ext cx="8542337" cy="28797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Create tab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151159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16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4572001" y="0"/>
            <a:ext cx="4572000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20" y="303212"/>
            <a:ext cx="4194968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9007340-05A2-41EA-A606-71FD79D2BC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1492250"/>
            <a:ext cx="4194968" cy="398827"/>
          </a:xfrm>
        </p:spPr>
        <p:txBody>
          <a:bodyPr>
            <a:noAutofit/>
          </a:bodyPr>
          <a:lstStyle>
            <a:lvl1pPr marL="0" indent="0" rtl="0">
              <a:buNone/>
              <a:defRPr b="1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</a:lstStyle>
          <a:p>
            <a:pPr lvl="0"/>
            <a:r>
              <a:rPr lang="en-US" dirty="0"/>
              <a:t>Subtitle, Segoe UI, 12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7EFB9F6-5AEB-4EF1-B28C-A7BCCA841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040340"/>
            <a:ext cx="4194968" cy="2331636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/>
            </a:lvl1pPr>
            <a:lvl2pPr algn="l"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7559CB0D-6B98-425D-BF5E-BB01C79AC836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17000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C17D092-076B-4C8E-ACAE-CBD429D29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408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C17D092-076B-4C8E-ACAE-CBD429D29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2DFC6AEF-AFA5-48E1-B0A3-DACBC3757E16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303212"/>
            <a:ext cx="8539955" cy="6155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Slide Title, Segoe UI, 24pt, Max. 2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7859EA-314D-49E2-A15A-FC28AC31B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Grafik 8">
            <a:extLst>
              <a:ext uri="{FF2B5EF4-FFF2-40B4-BE49-F238E27FC236}">
                <a16:creationId xmlns:a16="http://schemas.microsoft.com/office/drawing/2014/main" id="{39CB7AFC-62B1-4A25-AE97-E2B9062BF220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86743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+ margin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29FA0-F976-4260-84A2-6CE203644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782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ED29FA0-F976-4260-84A2-6CE203644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EAF814B-61FB-4BA3-A28A-7985FCA4803E}"/>
              </a:ext>
            </a:extLst>
          </p:cNvPr>
          <p:cNvSpPr/>
          <p:nvPr userDrawn="1"/>
        </p:nvSpPr>
        <p:spPr>
          <a:xfrm>
            <a:off x="0" y="0"/>
            <a:ext cx="9144001" cy="514508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7E887E9-8CA6-4D4B-A36A-AC353E536CE1}"/>
              </a:ext>
            </a:extLst>
          </p:cNvPr>
          <p:cNvSpPr/>
          <p:nvPr userDrawn="1"/>
        </p:nvSpPr>
        <p:spPr bwMode="gray">
          <a:xfrm>
            <a:off x="6819900" y="0"/>
            <a:ext cx="23241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D39AB3A-BB42-4127-A080-2F2121576D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5641180" cy="615553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EF0FD3-B6E1-4E0A-B30D-B364E5C0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Grafik 8">
            <a:extLst>
              <a:ext uri="{FF2B5EF4-FFF2-40B4-BE49-F238E27FC236}">
                <a16:creationId xmlns:a16="http://schemas.microsoft.com/office/drawing/2014/main" id="{F64AAAB0-FA74-4B39-A2A7-034416132C8D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F6167EC-44E4-4CBB-914D-65AC12E79F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82EFB41-8EA9-455E-8500-4970A8B8D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7057696" y="275904"/>
            <a:ext cx="1783333" cy="156902"/>
          </a:xfrm>
        </p:spPr>
        <p:txBody>
          <a:bodyPr>
            <a:noAutofit/>
          </a:bodyPr>
          <a:lstStyle>
            <a:lvl1pPr marL="0" indent="0" rtl="0">
              <a:buClr>
                <a:schemeClr val="bg1"/>
              </a:buClr>
              <a:buNone/>
              <a:defRPr sz="1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Segoe UI, 10p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DD6B41F-29EB-4B6E-8D5E-4D58DDEE97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57103" y="585788"/>
            <a:ext cx="1784477" cy="3786188"/>
          </a:xfrm>
        </p:spPr>
        <p:txBody>
          <a:bodyPr/>
          <a:lstStyle>
            <a:lvl1pPr marL="162000" indent="-162000" rtl="0">
              <a:buClr>
                <a:schemeClr val="bg1"/>
              </a:buClr>
              <a:buFont typeface="Wingdings" panose="05000000000000000000" pitchFamily="2" charset="2"/>
              <a:buChar char="§"/>
              <a:defRPr sz="10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000">
                <a:solidFill>
                  <a:schemeClr val="bg1"/>
                </a:solidFill>
              </a:defRPr>
            </a:lvl3pPr>
            <a:lvl4pPr marL="129600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03691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C0F9577-92F1-475C-BAC8-4DAA145E77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C0F9577-92F1-475C-BAC8-4DAA145E77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30D59A4B-5427-4613-A316-5C5C738B1B49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E177734-E4F2-4A8B-8528-BFC692A7991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AE4D0E1-24BE-4A9F-9B0C-319E32F754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689860" y="0"/>
            <a:ext cx="268986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4" name="Grafik 8">
            <a:extLst>
              <a:ext uri="{FF2B5EF4-FFF2-40B4-BE49-F238E27FC236}">
                <a16:creationId xmlns:a16="http://schemas.microsoft.com/office/drawing/2014/main" id="{179908B5-EFBF-44AE-B5F4-6524DE4D1D24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AAA1064-7CA0-4E22-9F40-41A638ADFD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84837" y="298450"/>
            <a:ext cx="3157537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opic, Segoe UI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E6E806F-FE68-4081-AE5C-2EB33C38C4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84838" y="487045"/>
            <a:ext cx="3157538" cy="3884930"/>
          </a:xfrm>
        </p:spPr>
        <p:txBody>
          <a:bodyPr/>
          <a:lstStyle>
            <a:lvl1pPr marL="0" indent="0" rtl="0">
              <a:lnSpc>
                <a:spcPts val="5200"/>
              </a:lnSpc>
              <a:buNone/>
              <a:defRPr sz="5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 Or Numb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40EF66-897B-4BCE-8D84-2CEB6D04C6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255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DB44EF-00C9-40A1-81CF-7324F4B99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42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DB44EF-00C9-40A1-81CF-7324F4B99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0338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891FA5F-078F-4117-A495-CF038903B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891FA5F-078F-4117-A495-CF038903B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/>
          <p:nvPr userDrawn="1"/>
        </p:nvSpPr>
        <p:spPr bwMode="gray">
          <a:xfrm>
            <a:off x="300039" y="2286000"/>
            <a:ext cx="2019299" cy="208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/>
          <p:nvPr userDrawn="1"/>
        </p:nvSpPr>
        <p:spPr bwMode="gray">
          <a:xfrm>
            <a:off x="2319337" y="298448"/>
            <a:ext cx="3052763" cy="15712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00038" y="298449"/>
            <a:ext cx="2019298" cy="1987551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319338" y="1869743"/>
            <a:ext cx="3052762" cy="2502232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372100" y="298449"/>
            <a:ext cx="3470275" cy="407352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51882" y="2437606"/>
            <a:ext cx="1715612" cy="156902"/>
          </a:xfrm>
        </p:spPr>
        <p:txBody>
          <a:bodyPr>
            <a:noAutofit/>
          </a:bodyPr>
          <a:lstStyle>
            <a:lvl1pPr marL="0" indent="0" rtl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1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1882" y="2741616"/>
            <a:ext cx="1715612" cy="1506534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E3EC1BC-B6DD-43BD-AD6F-A77313948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01872" y="571134"/>
            <a:ext cx="2487693" cy="1025922"/>
          </a:xfrm>
        </p:spPr>
        <p:txBody>
          <a:bodyPr anchor="ctr">
            <a:noAutofit/>
          </a:bodyPr>
          <a:lstStyle>
            <a:lvl1pPr marL="0" indent="0" rtl="0">
              <a:lnSpc>
                <a:spcPts val="4000"/>
              </a:lnSpc>
              <a:buNone/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m/ Number</a:t>
            </a:r>
          </a:p>
        </p:txBody>
      </p:sp>
    </p:spTree>
    <p:extLst>
      <p:ext uri="{BB962C8B-B14F-4D97-AF65-F5344CB8AC3E}">
        <p14:creationId xmlns:p14="http://schemas.microsoft.com/office/powerpoint/2010/main" val="13405106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04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1151887"/>
            <a:ext cx="2847600" cy="15227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849246"/>
            <a:ext cx="2850796" cy="15227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849244"/>
            <a:ext cx="2845769" cy="152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1151887"/>
            <a:ext cx="284577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674620"/>
            <a:ext cx="2847600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1151887"/>
            <a:ext cx="2849562" cy="1697354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070224"/>
            <a:ext cx="2281590" cy="110684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372866"/>
            <a:ext cx="2281896" cy="110765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070226"/>
            <a:ext cx="2281896" cy="110886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6D664C7-0545-4A14-9DCB-BE8E2F6930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2548850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76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1151887"/>
            <a:ext cx="4264629" cy="15127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858284"/>
            <a:ext cx="4277707" cy="15136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1151884"/>
            <a:ext cx="4277710" cy="170640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664619"/>
            <a:ext cx="4264629" cy="170735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086884"/>
            <a:ext cx="3707066" cy="104894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1380487"/>
            <a:ext cx="3708000" cy="104838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200"/>
            </a:lvl1pPr>
            <a:lvl2pPr rtl="0"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2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947B689-263C-46D8-BD1A-F32003D46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, Segoe UI, 24pt</a:t>
            </a:r>
            <a:br>
              <a:rPr lang="en-US" dirty="0"/>
            </a:br>
            <a:r>
              <a:rPr lang="en-US" dirty="0"/>
              <a:t>Max. 2 Lines</a:t>
            </a:r>
          </a:p>
        </p:txBody>
      </p:sp>
    </p:spTree>
    <p:extLst>
      <p:ext uri="{BB962C8B-B14F-4D97-AF65-F5344CB8AC3E}">
        <p14:creationId xmlns:p14="http://schemas.microsoft.com/office/powerpoint/2010/main" val="10121260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2DC763-7C98-4BF7-8076-872F267E18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77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2DC763-7C98-4BF7-8076-872F267E18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3145805" y="298447"/>
            <a:ext cx="2847600" cy="19193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4D0BC2-2BEA-4984-8BCC-B42A4DD96ABE}"/>
              </a:ext>
            </a:extLst>
          </p:cNvPr>
          <p:cNvSpPr>
            <a:spLocks/>
          </p:cNvSpPr>
          <p:nvPr userDrawn="1"/>
        </p:nvSpPr>
        <p:spPr>
          <a:xfrm>
            <a:off x="5991579" y="2490716"/>
            <a:ext cx="2850796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8" y="2490716"/>
            <a:ext cx="2845769" cy="18812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7" y="298449"/>
            <a:ext cx="2845770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5805" y="2217759"/>
            <a:ext cx="2847600" cy="215421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0D74127-2F9F-4278-A92B-109CD06EFE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92813" y="298450"/>
            <a:ext cx="2849562" cy="2192267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30" y="2717054"/>
            <a:ext cx="2281590" cy="498598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9" y="3302000"/>
            <a:ext cx="2281590" cy="784225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7746" y="552096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27746" y="1124390"/>
            <a:ext cx="2281896" cy="7848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4410347-E07E-4B83-8D69-8A994CBA34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3516" y="2717054"/>
            <a:ext cx="2281896" cy="500400"/>
          </a:xfrm>
        </p:spPr>
        <p:txBody>
          <a:bodyPr/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5A11F8-0E42-4080-B86D-63341C6F3C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3516" y="3300567"/>
            <a:ext cx="2281896" cy="785658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96701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6BEC144-9259-411C-8919-2BAF1C6F1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0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6BEC144-9259-411C-8919-2BAF1C6F1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EDA71EEB-5E99-46AD-A947-C6E176BC18E0}"/>
              </a:ext>
            </a:extLst>
          </p:cNvPr>
          <p:cNvSpPr>
            <a:spLocks/>
          </p:cNvSpPr>
          <p:nvPr userDrawn="1"/>
        </p:nvSpPr>
        <p:spPr>
          <a:xfrm>
            <a:off x="4577746" y="298447"/>
            <a:ext cx="4264629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9D756-CEC2-4FF9-80B5-C0874EA7AC56}"/>
              </a:ext>
            </a:extLst>
          </p:cNvPr>
          <p:cNvSpPr>
            <a:spLocks/>
          </p:cNvSpPr>
          <p:nvPr userDrawn="1"/>
        </p:nvSpPr>
        <p:spPr>
          <a:xfrm>
            <a:off x="300039" y="2538414"/>
            <a:ext cx="4277707" cy="183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95F812-C8DA-4443-B6FB-3D0F7B0BA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E2CAEF-25CC-4015-9DE2-7AE7C2A7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96F566D-2A4A-4013-AA0B-632F665A6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0036" y="298449"/>
            <a:ext cx="4277710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9F2D387-9A87-4B98-80C0-8CD6B9184D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7746" y="2132009"/>
            <a:ext cx="4264629" cy="2239965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4EBAAAC-9B94-4A0A-859E-57BC1C522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2128" y="2807547"/>
            <a:ext cx="3707066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4CF401C-DE73-4E05-B8D1-DB50DE944C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2128" y="3154368"/>
            <a:ext cx="3707066" cy="950907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0F7FBCD-4838-4858-9B02-5770B636A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51034" y="606687"/>
            <a:ext cx="3708000" cy="249299"/>
          </a:xfrm>
        </p:spPr>
        <p:txBody>
          <a:bodyPr>
            <a:noAutofit/>
          </a:bodyPr>
          <a:lstStyle>
            <a:lvl1pPr marL="0" indent="0" rtl="0">
              <a:lnSpc>
                <a:spcPct val="90000"/>
              </a:lnSpc>
              <a:buNone/>
              <a:defRPr sz="18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, Segoe UI, 18p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F00088E-BD27-4075-9D51-FDAB7868F9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51034" y="943794"/>
            <a:ext cx="3708000" cy="950400"/>
          </a:xfrm>
        </p:spPr>
        <p:txBody>
          <a:bodyPr/>
          <a:lstStyle>
            <a:lvl1pPr marL="162000" indent="-162000" rtl="0">
              <a:buFont typeface="Wingdings" panose="05000000000000000000" pitchFamily="2" charset="2"/>
              <a:buChar char="§"/>
              <a:defRPr sz="1000"/>
            </a:lvl1pPr>
            <a:lvl2pPr rtl="0"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First Level, Segoe UI, 10pt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5761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71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7291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re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26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5619" cy="1538883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8167987-BC69-4A2B-82A3-6F7D3BE6823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668404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58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15721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293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4133397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632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0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6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3B413B13-55F7-41C0-B98C-8841607428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3E68A076-ECA3-4C3F-8ACE-FCDA132B0E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4629265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8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6432899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47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1122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49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ED7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6280174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105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28789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28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175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6E67D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814220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70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9492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143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6E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17564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8625145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391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67383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91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3180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DFEBC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3975046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77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1342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50:50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F921CF9-B57B-416A-9497-3C9E70F2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560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F921CF9-B57B-416A-9497-3C9E70F2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4E5A178-E5DB-4533-A3EA-5BA2796023F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572000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22520" y="27114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22520" y="792000"/>
            <a:ext cx="3919855" cy="1538883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3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3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48ABBCCE-4884-469A-AF5A-A775CB4FE839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7681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4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DFEB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318096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65682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4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4449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2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871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4C59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5507860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57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59261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466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4C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871964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9985836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531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3252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50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A2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69008C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7932544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57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5847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95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69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A2ECB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39691732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439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5569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3:9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D514C2-2A29-47C4-8020-4382A623D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030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D514C2-2A29-47C4-8020-4382A623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5E865B6C-B5C0-4F4A-8507-89C27AE9F334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6520" y="792000"/>
            <a:ext cx="5481955" cy="2051844"/>
          </a:xfrm>
        </p:spPr>
        <p:txBody>
          <a:bodyPr vert="horz" wrap="square" anchor="t">
            <a:noAutofit/>
          </a:bodyPr>
          <a:lstStyle>
            <a:lvl1pPr algn="l"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, Segoe UI, 40pt, </a:t>
            </a:r>
            <a:br>
              <a:rPr lang="en-US" dirty="0"/>
            </a:br>
            <a:r>
              <a:rPr lang="en-US" dirty="0"/>
              <a:t>max.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636520" y="3016235"/>
            <a:ext cx="2146755" cy="2421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198000" tIns="21600" rIns="198000" bIns="21600" anchor="ctr">
            <a:spAutoFit/>
          </a:bodyPr>
          <a:lstStyle>
            <a:lvl1pPr marL="0" indent="0" algn="l" rtl="0">
              <a:buNone/>
              <a:defRPr sz="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 surname, TT Month YYYY</a:t>
            </a:r>
          </a:p>
        </p:txBody>
      </p:sp>
      <p:sp>
        <p:nvSpPr>
          <p:cNvPr id="12" name="Grafik 8">
            <a:extLst>
              <a:ext uri="{FF2B5EF4-FFF2-40B4-BE49-F238E27FC236}">
                <a16:creationId xmlns:a16="http://schemas.microsoft.com/office/drawing/2014/main" id="{C344AFA9-4A8E-44CF-8CAF-1B96E944876B}"/>
              </a:ext>
            </a:extLst>
          </p:cNvPr>
          <p:cNvSpPr/>
          <p:nvPr userDrawn="1"/>
        </p:nvSpPr>
        <p:spPr bwMode="gray">
          <a:xfrm>
            <a:off x="8020050" y="4381363"/>
            <a:ext cx="822325" cy="458501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4CA9CA93-6B6D-4933-A4DB-3993CCDEF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3607068"/>
            <a:ext cx="2319338" cy="1538020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499F140C-09BF-423D-A0CC-184EF5A56D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-3075"/>
            <a:ext cx="2319338" cy="36114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5313651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 Variation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616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005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E8E2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40473585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52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76150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8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E8E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005FBE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732388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49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11453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03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FB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28325A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11554397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D19DD26-04B7-4B16-9000-2856C5C7E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74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D19DD26-04B7-4B16-9000-2856C5C7E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7091362" cy="1538883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52880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picture, Variation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25E8F81-FE39-46BE-ABD8-B4CE401D8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48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25E8F81-FE39-46BE-ABD8-B4CE401D8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rgbClr val="2832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20" y="303212"/>
            <a:ext cx="3914738" cy="1154162"/>
          </a:xfrm>
        </p:spPr>
        <p:txBody>
          <a:bodyPr vert="horz">
            <a:noAutofit/>
          </a:bodyPr>
          <a:lstStyle>
            <a:lvl1pPr rtl="0">
              <a:lnSpc>
                <a:spcPts val="3000"/>
              </a:lnSpc>
              <a:defRPr sz="3000">
                <a:solidFill>
                  <a:srgbClr val="FBA700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Segoe UI, 30pt, </a:t>
            </a:r>
            <a:br>
              <a:rPr lang="en-US" dirty="0"/>
            </a:br>
            <a:r>
              <a:rPr lang="en-US" dirty="0"/>
              <a:t>max. 3 Lin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EC03FA2-C5E9-46FF-A82B-4CBFAD863B4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46613" y="0"/>
            <a:ext cx="2744787" cy="5145088"/>
          </a:xfrm>
          <a:solidFill>
            <a:schemeClr val="bg1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US" dirty="0"/>
              <a:t>Insert image from file by clicking on the icon</a:t>
            </a:r>
          </a:p>
        </p:txBody>
      </p:sp>
    </p:spTree>
    <p:extLst>
      <p:ext uri="{BB962C8B-B14F-4D97-AF65-F5344CB8AC3E}">
        <p14:creationId xmlns:p14="http://schemas.microsoft.com/office/powerpoint/2010/main" val="25531769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05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4413C03-D129-4B04-B289-283874789DC0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Quote, </a:t>
            </a:r>
            <a:br>
              <a:rPr lang="en-US" noProof="0"/>
            </a:br>
            <a:r>
              <a:rPr lang="en-US" noProof="0"/>
              <a:t>Segoe UI, 40pt, </a:t>
            </a:r>
            <a:br>
              <a:rPr lang="en-US" noProof="0"/>
            </a:br>
            <a:r>
              <a:rPr lang="en-US" noProof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17990526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8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 bwMode="gray">
          <a:xfrm>
            <a:off x="0" y="0"/>
            <a:ext cx="9144000" cy="51450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38282393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Vari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633ECB-07AD-44A7-8EF2-1B6401B444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30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633ECB-07AD-44A7-8EF2-1B6401B44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D65D5692-E96A-46EE-8E1E-DB2BDCD3FDBC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1F8751-E3F5-4C4D-92C0-A3F2D2D17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C2F14D-BC3F-405F-B8C1-EA8821C04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rafik 8">
            <a:extLst>
              <a:ext uri="{FF2B5EF4-FFF2-40B4-BE49-F238E27FC236}">
                <a16:creationId xmlns:a16="http://schemas.microsoft.com/office/drawing/2014/main" id="{0DF332BC-A006-4A31-9203-1BB4237E2F72}"/>
              </a:ext>
            </a:extLst>
          </p:cNvPr>
          <p:cNvSpPr/>
          <p:nvPr userDrawn="1"/>
        </p:nvSpPr>
        <p:spPr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BE4E586-88CE-494B-9DF4-3093DED303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7" y="3741420"/>
            <a:ext cx="8539955" cy="188321"/>
          </a:xfrm>
        </p:spPr>
        <p:txBody>
          <a:bodyPr>
            <a:noAutofit/>
          </a:bodyPr>
          <a:lstStyle>
            <a:lvl1pPr marL="0" indent="0" rtl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uthor, Segoe UI, 12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EB4BA0-9C02-48FF-8B95-89D7C6F95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419" y="524192"/>
            <a:ext cx="8539955" cy="3077766"/>
          </a:xfrm>
        </p:spPr>
        <p:txBody>
          <a:bodyPr vert="horz">
            <a:noAutofit/>
          </a:bodyPr>
          <a:lstStyle>
            <a:lvl1pPr rtl="0">
              <a:lnSpc>
                <a:spcPts val="4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Quote, </a:t>
            </a:r>
            <a:br>
              <a:rPr lang="en-US" dirty="0"/>
            </a:br>
            <a:r>
              <a:rPr lang="en-US" dirty="0"/>
              <a:t>Segoe UI, 40pt, </a:t>
            </a:r>
            <a:br>
              <a:rPr lang="en-US" dirty="0"/>
            </a:br>
            <a:r>
              <a:rPr lang="en-US" dirty="0"/>
              <a:t>max. 6 Lines</a:t>
            </a:r>
          </a:p>
        </p:txBody>
      </p:sp>
    </p:spTree>
    <p:extLst>
      <p:ext uri="{BB962C8B-B14F-4D97-AF65-F5344CB8AC3E}">
        <p14:creationId xmlns:p14="http://schemas.microsoft.com/office/powerpoint/2010/main" val="229041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oleObject" Target="../embeddings/oleObject1.bin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3C7373-B062-49D1-95CD-2D40ADE5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6"/>
            </p:custDataLst>
            <p:extLst>
              <p:ext uri="{D42A27DB-BD31-4B8C-83A1-F6EECF244321}">
                <p14:modId xmlns:p14="http://schemas.microsoft.com/office/powerpoint/2010/main" val="25056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7" imgW="306" imgH="306" progId="TCLayout.ActiveDocument.1">
                  <p:embed/>
                </p:oleObj>
              </mc:Choice>
              <mc:Fallback>
                <p:oleObj name="think-cell Folie" r:id="rId107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3C7373-B062-49D1-95CD-2D40ADE5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02420" y="303212"/>
            <a:ext cx="7091362" cy="6155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Slide Title, Segoe UI, 24pt</a:t>
            </a:r>
            <a:br>
              <a:rPr lang="en-US" noProof="0" dirty="0"/>
            </a:br>
            <a:r>
              <a:rPr lang="en-US" noProof="0" dirty="0"/>
              <a:t>Max.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02420" y="1492251"/>
            <a:ext cx="7088980" cy="28797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, Segoe UI, 12pt 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618649" y="4733844"/>
            <a:ext cx="3151664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00038" y="4733844"/>
            <a:ext cx="318611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fld id="{54413C03-D129-4B04-B289-283874789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rafik 8">
            <a:extLst>
              <a:ext uri="{FF2B5EF4-FFF2-40B4-BE49-F238E27FC236}">
                <a16:creationId xmlns:a16="http://schemas.microsoft.com/office/drawing/2014/main" id="{7BF37C91-00E2-47BD-94A0-102999D00519}"/>
              </a:ext>
            </a:extLst>
          </p:cNvPr>
          <p:cNvSpPr/>
          <p:nvPr/>
        </p:nvSpPr>
        <p:spPr bwMode="gray">
          <a:xfrm>
            <a:off x="8284370" y="4616326"/>
            <a:ext cx="614456" cy="342600"/>
          </a:xfrm>
          <a:custGeom>
            <a:avLst/>
            <a:gdLst>
              <a:gd name="connsiteX0" fmla="*/ 363160 w 726376"/>
              <a:gd name="connsiteY0" fmla="*/ -28 h 405003"/>
              <a:gd name="connsiteX1" fmla="*/ 726348 w 726376"/>
              <a:gd name="connsiteY1" fmla="*/ 202473 h 405003"/>
              <a:gd name="connsiteX2" fmla="*/ 363160 w 726376"/>
              <a:gd name="connsiteY2" fmla="*/ 404975 h 405003"/>
              <a:gd name="connsiteX3" fmla="*/ -28 w 726376"/>
              <a:gd name="connsiteY3" fmla="*/ 202473 h 405003"/>
              <a:gd name="connsiteX4" fmla="*/ 363160 w 726376"/>
              <a:gd name="connsiteY4" fmla="*/ -28 h 405003"/>
              <a:gd name="connsiteX5" fmla="*/ 363160 w 726376"/>
              <a:gd name="connsiteY5" fmla="*/ 18164 h 405003"/>
              <a:gd name="connsiteX6" fmla="*/ 18355 w 726376"/>
              <a:gd name="connsiteY6" fmla="*/ 202473 h 405003"/>
              <a:gd name="connsiteX7" fmla="*/ 363160 w 726376"/>
              <a:gd name="connsiteY7" fmla="*/ 386496 h 405003"/>
              <a:gd name="connsiteX8" fmla="*/ 708060 w 726376"/>
              <a:gd name="connsiteY8" fmla="*/ 202473 h 405003"/>
              <a:gd name="connsiteX9" fmla="*/ 363160 w 726376"/>
              <a:gd name="connsiteY9" fmla="*/ 18164 h 405003"/>
              <a:gd name="connsiteX10" fmla="*/ 299342 w 726376"/>
              <a:gd name="connsiteY10" fmla="*/ 221904 h 405003"/>
              <a:gd name="connsiteX11" fmla="*/ 227905 w 726376"/>
              <a:gd name="connsiteY11" fmla="*/ 221904 h 405003"/>
              <a:gd name="connsiteX12" fmla="*/ 249312 w 726376"/>
              <a:gd name="connsiteY12" fmla="*/ 247725 h 405003"/>
              <a:gd name="connsiteX13" fmla="*/ 253813 w 726376"/>
              <a:gd name="connsiteY13" fmla="*/ 247717 h 405003"/>
              <a:gd name="connsiteX14" fmla="*/ 274292 w 726376"/>
              <a:gd name="connsiteY14" fmla="*/ 235239 h 405003"/>
              <a:gd name="connsiteX15" fmla="*/ 297723 w 726376"/>
              <a:gd name="connsiteY15" fmla="*/ 235239 h 405003"/>
              <a:gd name="connsiteX16" fmla="*/ 252860 w 726376"/>
              <a:gd name="connsiteY16" fmla="*/ 266386 h 405003"/>
              <a:gd name="connsiteX17" fmla="*/ 203521 w 726376"/>
              <a:gd name="connsiteY17" fmla="*/ 215522 h 405003"/>
              <a:gd name="connsiteX18" fmla="*/ 249354 w 726376"/>
              <a:gd name="connsiteY18" fmla="*/ 164528 h 405003"/>
              <a:gd name="connsiteX19" fmla="*/ 252860 w 726376"/>
              <a:gd name="connsiteY19" fmla="*/ 164468 h 405003"/>
              <a:gd name="connsiteX20" fmla="*/ 299342 w 726376"/>
              <a:gd name="connsiteY20" fmla="*/ 221904 h 405003"/>
              <a:gd name="connsiteX21" fmla="*/ 251717 w 726376"/>
              <a:gd name="connsiteY21" fmla="*/ 182756 h 405003"/>
              <a:gd name="connsiteX22" fmla="*/ 228115 w 726376"/>
              <a:gd name="connsiteY22" fmla="*/ 204453 h 405003"/>
              <a:gd name="connsiteX23" fmla="*/ 228095 w 726376"/>
              <a:gd name="connsiteY23" fmla="*/ 205331 h 405003"/>
              <a:gd name="connsiteX24" fmla="*/ 274482 w 726376"/>
              <a:gd name="connsiteY24" fmla="*/ 205331 h 405003"/>
              <a:gd name="connsiteX25" fmla="*/ 251622 w 726376"/>
              <a:gd name="connsiteY25" fmla="*/ 182756 h 405003"/>
              <a:gd name="connsiteX26" fmla="*/ 608905 w 726376"/>
              <a:gd name="connsiteY26" fmla="*/ 221904 h 405003"/>
              <a:gd name="connsiteX27" fmla="*/ 537467 w 726376"/>
              <a:gd name="connsiteY27" fmla="*/ 221904 h 405003"/>
              <a:gd name="connsiteX28" fmla="*/ 558921 w 726376"/>
              <a:gd name="connsiteY28" fmla="*/ 247687 h 405003"/>
              <a:gd name="connsiteX29" fmla="*/ 562899 w 726376"/>
              <a:gd name="connsiteY29" fmla="*/ 247717 h 405003"/>
              <a:gd name="connsiteX30" fmla="*/ 583378 w 726376"/>
              <a:gd name="connsiteY30" fmla="*/ 235239 h 405003"/>
              <a:gd name="connsiteX31" fmla="*/ 606809 w 726376"/>
              <a:gd name="connsiteY31" fmla="*/ 235239 h 405003"/>
              <a:gd name="connsiteX32" fmla="*/ 562042 w 726376"/>
              <a:gd name="connsiteY32" fmla="*/ 266386 h 405003"/>
              <a:gd name="connsiteX33" fmla="*/ 512454 w 726376"/>
              <a:gd name="connsiteY33" fmla="*/ 220809 h 405003"/>
              <a:gd name="connsiteX34" fmla="*/ 512512 w 726376"/>
              <a:gd name="connsiteY34" fmla="*/ 215713 h 405003"/>
              <a:gd name="connsiteX35" fmla="*/ 558342 w 726376"/>
              <a:gd name="connsiteY35" fmla="*/ 164717 h 405003"/>
              <a:gd name="connsiteX36" fmla="*/ 561947 w 726376"/>
              <a:gd name="connsiteY36" fmla="*/ 164659 h 405003"/>
              <a:gd name="connsiteX37" fmla="*/ 608810 w 726376"/>
              <a:gd name="connsiteY37" fmla="*/ 221904 h 405003"/>
              <a:gd name="connsiteX38" fmla="*/ 561280 w 726376"/>
              <a:gd name="connsiteY38" fmla="*/ 182756 h 405003"/>
              <a:gd name="connsiteX39" fmla="*/ 537582 w 726376"/>
              <a:gd name="connsiteY39" fmla="*/ 204548 h 405003"/>
              <a:gd name="connsiteX40" fmla="*/ 537563 w 726376"/>
              <a:gd name="connsiteY40" fmla="*/ 205331 h 405003"/>
              <a:gd name="connsiteX41" fmla="*/ 584045 w 726376"/>
              <a:gd name="connsiteY41" fmla="*/ 205331 h 405003"/>
              <a:gd name="connsiteX42" fmla="*/ 561185 w 726376"/>
              <a:gd name="connsiteY42" fmla="*/ 182756 h 405003"/>
              <a:gd name="connsiteX43" fmla="*/ 77981 w 726376"/>
              <a:gd name="connsiteY43" fmla="*/ 263338 h 405003"/>
              <a:gd name="connsiteX44" fmla="*/ 104461 w 726376"/>
              <a:gd name="connsiteY44" fmla="*/ 263338 h 405003"/>
              <a:gd name="connsiteX45" fmla="*/ 104461 w 726376"/>
              <a:gd name="connsiteY45" fmla="*/ 206188 h 405003"/>
              <a:gd name="connsiteX46" fmla="*/ 161611 w 726376"/>
              <a:gd name="connsiteY46" fmla="*/ 206188 h 405003"/>
              <a:gd name="connsiteX47" fmla="*/ 161611 w 726376"/>
              <a:gd name="connsiteY47" fmla="*/ 263338 h 405003"/>
              <a:gd name="connsiteX48" fmla="*/ 188186 w 726376"/>
              <a:gd name="connsiteY48" fmla="*/ 263338 h 405003"/>
              <a:gd name="connsiteX49" fmla="*/ 188186 w 726376"/>
              <a:gd name="connsiteY49" fmla="*/ 129988 h 405003"/>
              <a:gd name="connsiteX50" fmla="*/ 161801 w 726376"/>
              <a:gd name="connsiteY50" fmla="*/ 129988 h 405003"/>
              <a:gd name="connsiteX51" fmla="*/ 161801 w 726376"/>
              <a:gd name="connsiteY51" fmla="*/ 184757 h 405003"/>
              <a:gd name="connsiteX52" fmla="*/ 104651 w 726376"/>
              <a:gd name="connsiteY52" fmla="*/ 184757 h 405003"/>
              <a:gd name="connsiteX53" fmla="*/ 104651 w 726376"/>
              <a:gd name="connsiteY53" fmla="*/ 129988 h 405003"/>
              <a:gd name="connsiteX54" fmla="*/ 77981 w 726376"/>
              <a:gd name="connsiteY54" fmla="*/ 129988 h 405003"/>
              <a:gd name="connsiteX55" fmla="*/ 314011 w 726376"/>
              <a:gd name="connsiteY55" fmla="*/ 263338 h 405003"/>
              <a:gd name="connsiteX56" fmla="*/ 338966 w 726376"/>
              <a:gd name="connsiteY56" fmla="*/ 263338 h 405003"/>
              <a:gd name="connsiteX57" fmla="*/ 338966 w 726376"/>
              <a:gd name="connsiteY57" fmla="*/ 211522 h 405003"/>
              <a:gd name="connsiteX58" fmla="*/ 360302 w 726376"/>
              <a:gd name="connsiteY58" fmla="*/ 183804 h 405003"/>
              <a:gd name="connsiteX59" fmla="*/ 378114 w 726376"/>
              <a:gd name="connsiteY59" fmla="*/ 207521 h 405003"/>
              <a:gd name="connsiteX60" fmla="*/ 378114 w 726376"/>
              <a:gd name="connsiteY60" fmla="*/ 263338 h 405003"/>
              <a:gd name="connsiteX61" fmla="*/ 403070 w 726376"/>
              <a:gd name="connsiteY61" fmla="*/ 263338 h 405003"/>
              <a:gd name="connsiteX62" fmla="*/ 403070 w 726376"/>
              <a:gd name="connsiteY62" fmla="*/ 204283 h 405003"/>
              <a:gd name="connsiteX63" fmla="*/ 367732 w 726376"/>
              <a:gd name="connsiteY63" fmla="*/ 164468 h 405003"/>
              <a:gd name="connsiteX64" fmla="*/ 338204 w 726376"/>
              <a:gd name="connsiteY64" fmla="*/ 180566 h 405003"/>
              <a:gd name="connsiteX65" fmla="*/ 337633 w 726376"/>
              <a:gd name="connsiteY65" fmla="*/ 180566 h 405003"/>
              <a:gd name="connsiteX66" fmla="*/ 337633 w 726376"/>
              <a:gd name="connsiteY66" fmla="*/ 167135 h 405003"/>
              <a:gd name="connsiteX67" fmla="*/ 314011 w 726376"/>
              <a:gd name="connsiteY67" fmla="*/ 167135 h 405003"/>
              <a:gd name="connsiteX68" fmla="*/ 424406 w 726376"/>
              <a:gd name="connsiteY68" fmla="*/ 263338 h 405003"/>
              <a:gd name="connsiteX69" fmla="*/ 449361 w 726376"/>
              <a:gd name="connsiteY69" fmla="*/ 263338 h 405003"/>
              <a:gd name="connsiteX70" fmla="*/ 449361 w 726376"/>
              <a:gd name="connsiteY70" fmla="*/ 211427 h 405003"/>
              <a:gd name="connsiteX71" fmla="*/ 486128 w 726376"/>
              <a:gd name="connsiteY71" fmla="*/ 263338 h 405003"/>
              <a:gd name="connsiteX72" fmla="*/ 517179 w 726376"/>
              <a:gd name="connsiteY72" fmla="*/ 263338 h 405003"/>
              <a:gd name="connsiteX73" fmla="*/ 476603 w 726376"/>
              <a:gd name="connsiteY73" fmla="*/ 209141 h 405003"/>
              <a:gd name="connsiteX74" fmla="*/ 512607 w 726376"/>
              <a:gd name="connsiteY74" fmla="*/ 166754 h 405003"/>
              <a:gd name="connsiteX75" fmla="*/ 482413 w 726376"/>
              <a:gd name="connsiteY75" fmla="*/ 166754 h 405003"/>
              <a:gd name="connsiteX76" fmla="*/ 448980 w 726376"/>
              <a:gd name="connsiteY76" fmla="*/ 208379 h 405003"/>
              <a:gd name="connsiteX77" fmla="*/ 448980 w 726376"/>
              <a:gd name="connsiteY77" fmla="*/ 129988 h 405003"/>
              <a:gd name="connsiteX78" fmla="*/ 424406 w 726376"/>
              <a:gd name="connsiteY78" fmla="*/ 129988 h 405003"/>
              <a:gd name="connsiteX79" fmla="*/ 623478 w 726376"/>
              <a:gd name="connsiteY79" fmla="*/ 263338 h 405003"/>
              <a:gd name="connsiteX80" fmla="*/ 648434 w 726376"/>
              <a:gd name="connsiteY80" fmla="*/ 263338 h 405003"/>
              <a:gd name="connsiteX81" fmla="*/ 648434 w 726376"/>
              <a:gd name="connsiteY81" fmla="*/ 129988 h 405003"/>
              <a:gd name="connsiteX82" fmla="*/ 623478 w 726376"/>
              <a:gd name="connsiteY82" fmla="*/ 129988 h 405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726376" h="405003">
                <a:moveTo>
                  <a:pt x="363160" y="-28"/>
                </a:moveTo>
                <a:cubicBezTo>
                  <a:pt x="563185" y="-28"/>
                  <a:pt x="726348" y="90650"/>
                  <a:pt x="726348" y="202473"/>
                </a:cubicBezTo>
                <a:cubicBezTo>
                  <a:pt x="726348" y="314297"/>
                  <a:pt x="563661" y="404975"/>
                  <a:pt x="363160" y="404975"/>
                </a:cubicBezTo>
                <a:cubicBezTo>
                  <a:pt x="162659" y="404975"/>
                  <a:pt x="-28" y="314201"/>
                  <a:pt x="-28" y="202473"/>
                </a:cubicBezTo>
                <a:cubicBezTo>
                  <a:pt x="-28" y="90745"/>
                  <a:pt x="162659" y="-28"/>
                  <a:pt x="363160" y="-28"/>
                </a:cubicBezTo>
                <a:close/>
                <a:moveTo>
                  <a:pt x="363160" y="18164"/>
                </a:moveTo>
                <a:cubicBezTo>
                  <a:pt x="172660" y="18164"/>
                  <a:pt x="18355" y="100841"/>
                  <a:pt x="18355" y="202473"/>
                </a:cubicBezTo>
                <a:cubicBezTo>
                  <a:pt x="18355" y="304105"/>
                  <a:pt x="172850" y="386496"/>
                  <a:pt x="363160" y="386496"/>
                </a:cubicBezTo>
                <a:cubicBezTo>
                  <a:pt x="553469" y="386496"/>
                  <a:pt x="708060" y="304010"/>
                  <a:pt x="708060" y="202473"/>
                </a:cubicBezTo>
                <a:cubicBezTo>
                  <a:pt x="708060" y="100937"/>
                  <a:pt x="553469" y="18164"/>
                  <a:pt x="363160" y="18164"/>
                </a:cubicBezTo>
                <a:close/>
                <a:moveTo>
                  <a:pt x="299342" y="221904"/>
                </a:moveTo>
                <a:lnTo>
                  <a:pt x="227905" y="221904"/>
                </a:lnTo>
                <a:cubicBezTo>
                  <a:pt x="226687" y="234946"/>
                  <a:pt x="236271" y="246506"/>
                  <a:pt x="249312" y="247725"/>
                </a:cubicBezTo>
                <a:cubicBezTo>
                  <a:pt x="250810" y="247865"/>
                  <a:pt x="252317" y="247863"/>
                  <a:pt x="253813" y="247717"/>
                </a:cubicBezTo>
                <a:cubicBezTo>
                  <a:pt x="262601" y="248347"/>
                  <a:pt x="270823" y="243338"/>
                  <a:pt x="274292" y="235239"/>
                </a:cubicBezTo>
                <a:lnTo>
                  <a:pt x="297723" y="235239"/>
                </a:lnTo>
                <a:cubicBezTo>
                  <a:pt x="292208" y="255062"/>
                  <a:pt x="273360" y="268147"/>
                  <a:pt x="252860" y="266386"/>
                </a:cubicBezTo>
                <a:cubicBezTo>
                  <a:pt x="222380" y="266386"/>
                  <a:pt x="203521" y="245431"/>
                  <a:pt x="203521" y="215522"/>
                </a:cubicBezTo>
                <a:cubicBezTo>
                  <a:pt x="202096" y="188785"/>
                  <a:pt x="222616" y="165953"/>
                  <a:pt x="249354" y="164528"/>
                </a:cubicBezTo>
                <a:cubicBezTo>
                  <a:pt x="250522" y="164467"/>
                  <a:pt x="251691" y="164446"/>
                  <a:pt x="252860" y="164468"/>
                </a:cubicBezTo>
                <a:cubicBezTo>
                  <a:pt x="285341" y="164468"/>
                  <a:pt x="301438" y="192186"/>
                  <a:pt x="299342" y="221904"/>
                </a:cubicBezTo>
                <a:close/>
                <a:moveTo>
                  <a:pt x="251717" y="182756"/>
                </a:moveTo>
                <a:cubicBezTo>
                  <a:pt x="239208" y="182231"/>
                  <a:pt x="228641" y="191944"/>
                  <a:pt x="228115" y="204453"/>
                </a:cubicBezTo>
                <a:cubicBezTo>
                  <a:pt x="228103" y="204746"/>
                  <a:pt x="228096" y="205038"/>
                  <a:pt x="228095" y="205331"/>
                </a:cubicBezTo>
                <a:lnTo>
                  <a:pt x="274482" y="205331"/>
                </a:lnTo>
                <a:cubicBezTo>
                  <a:pt x="272863" y="191805"/>
                  <a:pt x="266957" y="182756"/>
                  <a:pt x="251622" y="182756"/>
                </a:cubicBezTo>
                <a:close/>
                <a:moveTo>
                  <a:pt x="608905" y="221904"/>
                </a:moveTo>
                <a:lnTo>
                  <a:pt x="537467" y="221904"/>
                </a:lnTo>
                <a:cubicBezTo>
                  <a:pt x="536272" y="234949"/>
                  <a:pt x="545877" y="246492"/>
                  <a:pt x="558921" y="247687"/>
                </a:cubicBezTo>
                <a:cubicBezTo>
                  <a:pt x="560244" y="247808"/>
                  <a:pt x="561574" y="247819"/>
                  <a:pt x="562899" y="247717"/>
                </a:cubicBezTo>
                <a:cubicBezTo>
                  <a:pt x="571687" y="248347"/>
                  <a:pt x="579909" y="243338"/>
                  <a:pt x="583378" y="235239"/>
                </a:cubicBezTo>
                <a:lnTo>
                  <a:pt x="606809" y="235239"/>
                </a:lnTo>
                <a:cubicBezTo>
                  <a:pt x="601334" y="255046"/>
                  <a:pt x="582518" y="268138"/>
                  <a:pt x="562042" y="266386"/>
                </a:cubicBezTo>
                <a:cubicBezTo>
                  <a:pt x="535762" y="267494"/>
                  <a:pt x="513562" y="247087"/>
                  <a:pt x="512454" y="220809"/>
                </a:cubicBezTo>
                <a:cubicBezTo>
                  <a:pt x="512382" y="219110"/>
                  <a:pt x="512401" y="217409"/>
                  <a:pt x="512512" y="215713"/>
                </a:cubicBezTo>
                <a:cubicBezTo>
                  <a:pt x="511086" y="188975"/>
                  <a:pt x="531605" y="166143"/>
                  <a:pt x="558342" y="164717"/>
                </a:cubicBezTo>
                <a:cubicBezTo>
                  <a:pt x="559543" y="164653"/>
                  <a:pt x="560746" y="164633"/>
                  <a:pt x="561947" y="164659"/>
                </a:cubicBezTo>
                <a:cubicBezTo>
                  <a:pt x="594808" y="164468"/>
                  <a:pt x="610715" y="192186"/>
                  <a:pt x="608810" y="221904"/>
                </a:cubicBezTo>
                <a:close/>
                <a:moveTo>
                  <a:pt x="561280" y="182756"/>
                </a:moveTo>
                <a:cubicBezTo>
                  <a:pt x="548718" y="182230"/>
                  <a:pt x="538108" y="191986"/>
                  <a:pt x="537582" y="204548"/>
                </a:cubicBezTo>
                <a:cubicBezTo>
                  <a:pt x="537571" y="204809"/>
                  <a:pt x="537565" y="205070"/>
                  <a:pt x="537563" y="205331"/>
                </a:cubicBezTo>
                <a:lnTo>
                  <a:pt x="584045" y="205331"/>
                </a:lnTo>
                <a:cubicBezTo>
                  <a:pt x="582140" y="191805"/>
                  <a:pt x="576425" y="182756"/>
                  <a:pt x="561185" y="182756"/>
                </a:cubicBezTo>
                <a:close/>
                <a:moveTo>
                  <a:pt x="77981" y="263338"/>
                </a:moveTo>
                <a:lnTo>
                  <a:pt x="104461" y="263338"/>
                </a:lnTo>
                <a:lnTo>
                  <a:pt x="104461" y="206188"/>
                </a:lnTo>
                <a:lnTo>
                  <a:pt x="161611" y="206188"/>
                </a:lnTo>
                <a:lnTo>
                  <a:pt x="161611" y="263338"/>
                </a:lnTo>
                <a:lnTo>
                  <a:pt x="188186" y="263338"/>
                </a:lnTo>
                <a:lnTo>
                  <a:pt x="188186" y="129988"/>
                </a:lnTo>
                <a:lnTo>
                  <a:pt x="161801" y="129988"/>
                </a:lnTo>
                <a:lnTo>
                  <a:pt x="161801" y="184757"/>
                </a:lnTo>
                <a:lnTo>
                  <a:pt x="104651" y="184757"/>
                </a:lnTo>
                <a:lnTo>
                  <a:pt x="104651" y="129988"/>
                </a:lnTo>
                <a:lnTo>
                  <a:pt x="77981" y="129988"/>
                </a:lnTo>
                <a:close/>
                <a:moveTo>
                  <a:pt x="314011" y="263338"/>
                </a:moveTo>
                <a:lnTo>
                  <a:pt x="338966" y="263338"/>
                </a:lnTo>
                <a:lnTo>
                  <a:pt x="338966" y="211522"/>
                </a:lnTo>
                <a:cubicBezTo>
                  <a:pt x="338966" y="191805"/>
                  <a:pt x="345824" y="183804"/>
                  <a:pt x="360302" y="183804"/>
                </a:cubicBezTo>
                <a:cubicBezTo>
                  <a:pt x="372590" y="183804"/>
                  <a:pt x="378114" y="191710"/>
                  <a:pt x="378114" y="207521"/>
                </a:cubicBezTo>
                <a:lnTo>
                  <a:pt x="378114" y="263338"/>
                </a:lnTo>
                <a:lnTo>
                  <a:pt x="403070" y="263338"/>
                </a:lnTo>
                <a:lnTo>
                  <a:pt x="403070" y="204283"/>
                </a:lnTo>
                <a:cubicBezTo>
                  <a:pt x="403070" y="180375"/>
                  <a:pt x="396021" y="164468"/>
                  <a:pt x="367732" y="164468"/>
                </a:cubicBezTo>
                <a:cubicBezTo>
                  <a:pt x="355758" y="164326"/>
                  <a:pt x="344573" y="170424"/>
                  <a:pt x="338204" y="180566"/>
                </a:cubicBezTo>
                <a:lnTo>
                  <a:pt x="337633" y="180566"/>
                </a:lnTo>
                <a:lnTo>
                  <a:pt x="337633" y="167135"/>
                </a:lnTo>
                <a:lnTo>
                  <a:pt x="314011" y="167135"/>
                </a:lnTo>
                <a:close/>
                <a:moveTo>
                  <a:pt x="424406" y="263338"/>
                </a:moveTo>
                <a:lnTo>
                  <a:pt x="449361" y="263338"/>
                </a:lnTo>
                <a:lnTo>
                  <a:pt x="449361" y="211427"/>
                </a:lnTo>
                <a:lnTo>
                  <a:pt x="486128" y="263338"/>
                </a:lnTo>
                <a:lnTo>
                  <a:pt x="517179" y="263338"/>
                </a:lnTo>
                <a:lnTo>
                  <a:pt x="476603" y="209141"/>
                </a:lnTo>
                <a:lnTo>
                  <a:pt x="512607" y="166754"/>
                </a:lnTo>
                <a:lnTo>
                  <a:pt x="482413" y="166754"/>
                </a:lnTo>
                <a:lnTo>
                  <a:pt x="448980" y="208379"/>
                </a:lnTo>
                <a:lnTo>
                  <a:pt x="448980" y="129988"/>
                </a:lnTo>
                <a:lnTo>
                  <a:pt x="424406" y="129988"/>
                </a:lnTo>
                <a:close/>
                <a:moveTo>
                  <a:pt x="623478" y="263338"/>
                </a:moveTo>
                <a:lnTo>
                  <a:pt x="648434" y="263338"/>
                </a:lnTo>
                <a:lnTo>
                  <a:pt x="648434" y="129988"/>
                </a:lnTo>
                <a:lnTo>
                  <a:pt x="623478" y="12998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107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78" r:id="rId2"/>
    <p:sldLayoutId id="2147483661" r:id="rId3"/>
    <p:sldLayoutId id="2147483672" r:id="rId4"/>
    <p:sldLayoutId id="2147483673" r:id="rId5"/>
    <p:sldLayoutId id="2147483674" r:id="rId6"/>
    <p:sldLayoutId id="2147483708" r:id="rId7"/>
    <p:sldLayoutId id="2147483709" r:id="rId8"/>
    <p:sldLayoutId id="2147483710" r:id="rId9"/>
    <p:sldLayoutId id="2147483711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80" r:id="rId37"/>
    <p:sldLayoutId id="2147483713" r:id="rId38"/>
    <p:sldLayoutId id="2147483677" r:id="rId39"/>
    <p:sldLayoutId id="2147483782" r:id="rId40"/>
    <p:sldLayoutId id="2147483781" r:id="rId41"/>
    <p:sldLayoutId id="2147483675" r:id="rId42"/>
    <p:sldLayoutId id="2147483775" r:id="rId43"/>
    <p:sldLayoutId id="2147483676" r:id="rId44"/>
    <p:sldLayoutId id="2147483685" r:id="rId45"/>
    <p:sldLayoutId id="2147483686" r:id="rId46"/>
    <p:sldLayoutId id="2147483687" r:id="rId47"/>
    <p:sldLayoutId id="2147483688" r:id="rId48"/>
    <p:sldLayoutId id="2147483689" r:id="rId49"/>
    <p:sldLayoutId id="2147483690" r:id="rId50"/>
    <p:sldLayoutId id="2147483692" r:id="rId51"/>
    <p:sldLayoutId id="2147483693" r:id="rId52"/>
    <p:sldLayoutId id="2147483695" r:id="rId53"/>
    <p:sldLayoutId id="2147483696" r:id="rId54"/>
    <p:sldLayoutId id="2147483697" r:id="rId55"/>
    <p:sldLayoutId id="2147483698" r:id="rId56"/>
    <p:sldLayoutId id="2147483716" r:id="rId57"/>
    <p:sldLayoutId id="2147483718" r:id="rId58"/>
    <p:sldLayoutId id="2147483704" r:id="rId59"/>
    <p:sldLayoutId id="2147483705" r:id="rId60"/>
    <p:sldLayoutId id="2147483776" r:id="rId61"/>
    <p:sldLayoutId id="2147483777" r:id="rId62"/>
    <p:sldLayoutId id="2147483706" r:id="rId63"/>
    <p:sldLayoutId id="2147483707" r:id="rId64"/>
    <p:sldLayoutId id="2147483714" r:id="rId65"/>
    <p:sldLayoutId id="2147483715" r:id="rId66"/>
    <p:sldLayoutId id="2147483745" r:id="rId67"/>
    <p:sldLayoutId id="2147483746" r:id="rId68"/>
    <p:sldLayoutId id="2147483747" r:id="rId69"/>
    <p:sldLayoutId id="2147483748" r:id="rId70"/>
    <p:sldLayoutId id="2147483749" r:id="rId71"/>
    <p:sldLayoutId id="2147483750" r:id="rId72"/>
    <p:sldLayoutId id="2147483751" r:id="rId73"/>
    <p:sldLayoutId id="2147483752" r:id="rId74"/>
    <p:sldLayoutId id="2147483753" r:id="rId75"/>
    <p:sldLayoutId id="2147483754" r:id="rId76"/>
    <p:sldLayoutId id="2147483755" r:id="rId77"/>
    <p:sldLayoutId id="2147483756" r:id="rId78"/>
    <p:sldLayoutId id="2147483683" r:id="rId79"/>
    <p:sldLayoutId id="2147483684" r:id="rId80"/>
    <p:sldLayoutId id="2147483757" r:id="rId81"/>
    <p:sldLayoutId id="2147483758" r:id="rId82"/>
    <p:sldLayoutId id="2147483759" r:id="rId83"/>
    <p:sldLayoutId id="2147483760" r:id="rId84"/>
    <p:sldLayoutId id="2147483761" r:id="rId85"/>
    <p:sldLayoutId id="2147483762" r:id="rId86"/>
    <p:sldLayoutId id="2147483763" r:id="rId87"/>
    <p:sldLayoutId id="2147483764" r:id="rId88"/>
    <p:sldLayoutId id="2147483765" r:id="rId89"/>
    <p:sldLayoutId id="2147483766" r:id="rId90"/>
    <p:sldLayoutId id="2147483767" r:id="rId91"/>
    <p:sldLayoutId id="2147483768" r:id="rId92"/>
    <p:sldLayoutId id="2147483769" r:id="rId93"/>
    <p:sldLayoutId id="2147483770" r:id="rId94"/>
    <p:sldLayoutId id="2147483771" r:id="rId95"/>
    <p:sldLayoutId id="2147483772" r:id="rId96"/>
    <p:sldLayoutId id="2147483717" r:id="rId97"/>
    <p:sldLayoutId id="2147483699" r:id="rId98"/>
    <p:sldLayoutId id="2147483773" r:id="rId99"/>
    <p:sldLayoutId id="2147483774" r:id="rId100"/>
    <p:sldLayoutId id="2147483700" r:id="rId101"/>
    <p:sldLayoutId id="2147483779" r:id="rId102"/>
    <p:sldLayoutId id="2147483701" r:id="rId103"/>
    <p:sldLayoutId id="2147483702" r:id="rId104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90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58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26000" indent="-162000" algn="l" defTabSz="685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GT Flexa Rg" pitchFamily="2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9" userDrawn="1">
          <p15:clr>
            <a:srgbClr val="A4A3A4"/>
          </p15:clr>
        </p15:guide>
        <p15:guide id="5" orient="horz" pos="188" userDrawn="1">
          <p15:clr>
            <a:srgbClr val="A4A3A4"/>
          </p15:clr>
        </p15:guide>
        <p15:guide id="7" orient="horz" pos="3052" userDrawn="1">
          <p15:clr>
            <a:srgbClr val="A4A3A4"/>
          </p15:clr>
        </p15:guide>
        <p15:guide id="8" pos="549" userDrawn="1">
          <p15:clr>
            <a:srgbClr val="A4A3A4"/>
          </p15:clr>
        </p15:guide>
        <p15:guide id="9" pos="645" userDrawn="1">
          <p15:clr>
            <a:srgbClr val="A4A3A4"/>
          </p15:clr>
        </p15:guide>
        <p15:guide id="10" pos="1005" userDrawn="1">
          <p15:clr>
            <a:srgbClr val="A4A3A4"/>
          </p15:clr>
        </p15:guide>
        <p15:guide id="11" pos="1101" userDrawn="1">
          <p15:clr>
            <a:srgbClr val="A4A3A4"/>
          </p15:clr>
        </p15:guide>
        <p15:guide id="12" pos="1461" userDrawn="1">
          <p15:clr>
            <a:srgbClr val="A4A3A4"/>
          </p15:clr>
        </p15:guide>
        <p15:guide id="13" pos="1557" userDrawn="1">
          <p15:clr>
            <a:srgbClr val="A4A3A4"/>
          </p15:clr>
        </p15:guide>
        <p15:guide id="14" pos="1917" userDrawn="1">
          <p15:clr>
            <a:srgbClr val="A4A3A4"/>
          </p15:clr>
        </p15:guide>
        <p15:guide id="15" pos="2013" userDrawn="1">
          <p15:clr>
            <a:srgbClr val="A4A3A4"/>
          </p15:clr>
        </p15:guide>
        <p15:guide id="16" pos="2375" userDrawn="1">
          <p15:clr>
            <a:srgbClr val="A4A3A4"/>
          </p15:clr>
        </p15:guide>
        <p15:guide id="17" pos="2471" userDrawn="1">
          <p15:clr>
            <a:srgbClr val="A4A3A4"/>
          </p15:clr>
        </p15:guide>
        <p15:guide id="18" pos="2832" userDrawn="1">
          <p15:clr>
            <a:srgbClr val="A4A3A4"/>
          </p15:clr>
        </p15:guide>
        <p15:guide id="19" pos="2927" userDrawn="1">
          <p15:clr>
            <a:srgbClr val="A4A3A4"/>
          </p15:clr>
        </p15:guide>
        <p15:guide id="20" pos="3288" userDrawn="1">
          <p15:clr>
            <a:srgbClr val="A4A3A4"/>
          </p15:clr>
        </p15:guide>
        <p15:guide id="21" pos="3384" userDrawn="1">
          <p15:clr>
            <a:srgbClr val="A4A3A4"/>
          </p15:clr>
        </p15:guide>
        <p15:guide id="22" pos="3744" userDrawn="1">
          <p15:clr>
            <a:srgbClr val="A4A3A4"/>
          </p15:clr>
        </p15:guide>
        <p15:guide id="23" pos="3840" userDrawn="1">
          <p15:clr>
            <a:srgbClr val="A4A3A4"/>
          </p15:clr>
        </p15:guide>
        <p15:guide id="24" pos="4200" userDrawn="1">
          <p15:clr>
            <a:srgbClr val="A4A3A4"/>
          </p15:clr>
        </p15:guide>
        <p15:guide id="25" pos="4296" userDrawn="1">
          <p15:clr>
            <a:srgbClr val="A4A3A4"/>
          </p15:clr>
        </p15:guide>
        <p15:guide id="26" pos="4656" userDrawn="1">
          <p15:clr>
            <a:srgbClr val="A4A3A4"/>
          </p15:clr>
        </p15:guide>
        <p15:guide id="27" pos="4752" userDrawn="1">
          <p15:clr>
            <a:srgbClr val="A4A3A4"/>
          </p15:clr>
        </p15:guide>
        <p15:guide id="28" pos="5114" userDrawn="1">
          <p15:clr>
            <a:srgbClr val="A4A3A4"/>
          </p15:clr>
        </p15:guide>
        <p15:guide id="29" pos="5210" userDrawn="1">
          <p15:clr>
            <a:srgbClr val="A4A3A4"/>
          </p15:clr>
        </p15:guide>
        <p15:guide id="31" pos="5570" userDrawn="1">
          <p15:clr>
            <a:srgbClr val="A4A3A4"/>
          </p15:clr>
        </p15:guide>
        <p15:guide id="32" orient="horz" pos="940" userDrawn="1">
          <p15:clr>
            <a:srgbClr val="A4A3A4"/>
          </p15:clr>
        </p15:guide>
        <p15:guide id="33" orient="horz" pos="275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14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15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16.x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1.xml"/><Relationship Id="rId6" Type="http://schemas.openxmlformats.org/officeDocument/2006/relationships/hyperlink" Target="https://developer.mozilla.org/en-US/play?uuid=3e65e618-2da2-429f-86b5-1cd4a745f7af&amp;state=ZY5Bi8IwEEb%2FyvidKki9V%2Bul7N2rkEtMRlM3nYR2Cor43yUt7GVPwzBvHu%2BNoENEg%2BN1Vk1CSVzs3W9r4Ea2ymc72vtoc6i2Bqeu3GjgzXG%2F8icj2MFNExpgh0eZt1mc9knon4HeRohckkkp29FSSz65eWDReoV%2FIpetMsgG20PBC1grP7VLoixKLRlc0kxLKHvSwLTWbAyWlz%2FpNflXbXNm8V3oo6%2BKrGg%2FS7cGHhgNYn8Pis8X&amp;srcPrefix=%2Fen-US%2Fdocs%2FLearn_web_development%2FCore%2FScripting%2FWhat_is_JavaScript%2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2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1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C383830-5B10-401A-BF10-E6E174481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C383830-5B10-401A-BF10-E6E17448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47FAEEF0-36B7-4481-8228-07ECAE5665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8" y="792000"/>
            <a:ext cx="6858000" cy="1154162"/>
          </a:xfrm>
        </p:spPr>
        <p:txBody>
          <a:bodyPr vert="horz"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4DC78E09-2F5F-42ED-B40B-4690E044DA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2711435"/>
            <a:ext cx="2118714" cy="242122"/>
          </a:xfrm>
        </p:spPr>
        <p:txBody>
          <a:bodyPr/>
          <a:lstStyle/>
          <a:p>
            <a:r>
              <a:rPr lang="en-US" dirty="0"/>
              <a:t>Priyanka </a:t>
            </a:r>
            <a:r>
              <a:rPr lang="en-US" dirty="0" err="1"/>
              <a:t>MAThur</a:t>
            </a:r>
            <a:r>
              <a:rPr lang="en-US" dirty="0"/>
              <a:t> Soni, Nivedha</a:t>
            </a:r>
          </a:p>
        </p:txBody>
      </p:sp>
    </p:spTree>
    <p:extLst>
      <p:ext uri="{BB962C8B-B14F-4D97-AF65-F5344CB8AC3E}">
        <p14:creationId xmlns:p14="http://schemas.microsoft.com/office/powerpoint/2010/main" val="2861970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3687D-0487-8D7C-586C-ED77C575D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B707F3-6196-EB39-B9ED-1D3524A0D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Tool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3A7C92-91F2-5AE5-B96D-8AE32B7AF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19E085-D95F-F00F-143D-B1506BF99E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AAD3E2C-A803-6A46-085E-BE34B5687C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660" y="1113393"/>
            <a:ext cx="7091362" cy="1712911"/>
          </a:xfrm>
        </p:spPr>
        <p:txBody>
          <a:bodyPr/>
          <a:lstStyle/>
          <a:p>
            <a:r>
              <a:rPr lang="en-US" dirty="0"/>
              <a:t>Built inside Chrome (Right click → Inspect).</a:t>
            </a:r>
          </a:p>
          <a:p>
            <a:r>
              <a:rPr lang="en-US" dirty="0"/>
              <a:t>Used by developers to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Inspect elements</a:t>
            </a:r>
            <a:r>
              <a:rPr lang="en-US" dirty="0"/>
              <a:t> (see the HTML &amp; CSS behind a page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Debug JavaScript</a:t>
            </a:r>
            <a:r>
              <a:rPr lang="en-US" dirty="0"/>
              <a:t> (find and fix errors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Check responsiveness</a:t>
            </a:r>
            <a:r>
              <a:rPr lang="en-US" dirty="0"/>
              <a:t> (how a website looks on mobile/desktop)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8C459260-035B-99C1-88F0-CE844B7C1C85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67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351E49-86FA-B6D7-6223-5539F947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2060A-D8F3-DEEF-1CEF-E5AFD55A8C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AD7A2D-F2CF-15DD-2D79-254CD41AC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62E56D-F9B5-BC04-C764-2814FAB38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124" name="Picture 4" descr="The Inspect option in a drop-down menu in Chrome.">
            <a:extLst>
              <a:ext uri="{FF2B5EF4-FFF2-40B4-BE49-F238E27FC236}">
                <a16:creationId xmlns:a16="http://schemas.microsoft.com/office/drawing/2014/main" id="{11BEAD29-AB20-6767-8719-8300FF2AA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499" y="747846"/>
            <a:ext cx="6735848" cy="425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E4D8E35A-1236-FD4F-D369-3A23C73AFCC0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0124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09220-3C97-4B12-B491-374443DC33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228013-0A37-948E-7AE2-A2F6B90D8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42A8FF-A1E8-9891-E9CB-4EB5737043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C4C995-2DFB-9BCC-4077-9283C3361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5" name="Picture 8" descr="The Debugger to the right of the wide window.">
            <a:extLst>
              <a:ext uri="{FF2B5EF4-FFF2-40B4-BE49-F238E27FC236}">
                <a16:creationId xmlns:a16="http://schemas.microsoft.com/office/drawing/2014/main" id="{C4C14E67-24B5-B477-A0DF-8B9C701C4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631" y="918765"/>
            <a:ext cx="6912151" cy="3697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FBF77E-5846-F176-4BA6-B65CB1491C54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548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7E4B2-E59A-76A7-4B81-AEDA10713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EB577-A7B4-CDB4-6BE3-6C1E825074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7AE0B1-756D-099E-9E75-DECB376869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E2919-8009-7F1B-7FF4-87A6DF906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Developer Tools</a:t>
            </a:r>
          </a:p>
        </p:txBody>
      </p:sp>
      <p:pic>
        <p:nvPicPr>
          <p:cNvPr id="8" name="Picture 6" descr="The width presets bar.">
            <a:extLst>
              <a:ext uri="{FF2B5EF4-FFF2-40B4-BE49-F238E27FC236}">
                <a16:creationId xmlns:a16="http://schemas.microsoft.com/office/drawing/2014/main" id="{28E8C03E-7778-48C5-C74B-7F11761FBE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86625" y="918765"/>
            <a:ext cx="5270015" cy="377051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7A0207C6-8055-4C02-3546-F425009E4E0C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109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4BFDD-216A-AF55-8835-8A72B0C1C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6D37B4-AF0E-46F6-FCE2-48C37E0C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VS Co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162FED-278D-D633-F102-0CF26F04F4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F4F6AF-57E1-9C28-8A45-D9AFEE778C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B4D34F3-526F-CE6C-6351-F4D230C09F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2498429"/>
          </a:xfrm>
        </p:spPr>
        <p:txBody>
          <a:bodyPr/>
          <a:lstStyle/>
          <a:p>
            <a:r>
              <a:rPr lang="en-US" b="1" dirty="0"/>
              <a:t>Visual Studio Code (VS Code)</a:t>
            </a:r>
            <a:r>
              <a:rPr lang="en-US" dirty="0"/>
              <a:t> = a free code editor for writing programs.</a:t>
            </a:r>
          </a:p>
          <a:p>
            <a:r>
              <a:rPr lang="en-US" dirty="0"/>
              <a:t>Supports </a:t>
            </a:r>
            <a:r>
              <a:rPr lang="en-US" b="1" dirty="0"/>
              <a:t>HTML, CSS, JavaScript</a:t>
            </a:r>
            <a:r>
              <a:rPr lang="en-US" dirty="0"/>
              <a:t>, and many more languages.</a:t>
            </a:r>
          </a:p>
          <a:p>
            <a:r>
              <a:rPr lang="en-US" dirty="0"/>
              <a:t>Features: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Extensions</a:t>
            </a:r>
            <a:r>
              <a:rPr lang="en-US" dirty="0"/>
              <a:t> (to make coding easier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Themes</a:t>
            </a:r>
            <a:r>
              <a:rPr lang="en-US" dirty="0"/>
              <a:t> (customize look).</a:t>
            </a:r>
          </a:p>
          <a:p>
            <a:pPr marL="0" indent="0">
              <a:buNone/>
            </a:pPr>
            <a:r>
              <a:rPr lang="en-US" dirty="0"/>
              <a:t>        -  </a:t>
            </a:r>
            <a:r>
              <a:rPr lang="en-US" b="1" dirty="0"/>
              <a:t>Built-in terminal</a:t>
            </a:r>
            <a:r>
              <a:rPr lang="en-US" dirty="0"/>
              <a:t> (run commands).</a:t>
            </a:r>
          </a:p>
        </p:txBody>
      </p:sp>
    </p:spTree>
    <p:extLst>
      <p:ext uri="{BB962C8B-B14F-4D97-AF65-F5344CB8AC3E}">
        <p14:creationId xmlns:p14="http://schemas.microsoft.com/office/powerpoint/2010/main" val="36494892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019E6E-9778-52D3-D269-0E96F6A3B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1EEEB23-8A34-2B7E-8FF9-106EDA09C0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D51055-CB13-C37A-1E8D-64D36011E5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580F983-32C0-B831-D666-5755E9960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8194" name="Picture 2" descr="Preview themes from the Command Palette">
            <a:extLst>
              <a:ext uri="{FF2B5EF4-FFF2-40B4-BE49-F238E27FC236}">
                <a16:creationId xmlns:a16="http://schemas.microsoft.com/office/drawing/2014/main" id="{98DB2711-DB48-8963-7A3F-4DF9FAC96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3290" y="1109265"/>
            <a:ext cx="6109622" cy="326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0274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FE8CF-00AB-7098-0780-4DD092B40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FBF6E3-0EA4-553F-7B52-56AC215FB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64A9BC-0E30-4764-9E37-13BE9046AF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0AD5F32-B918-473A-D1D2-584FBE2FC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D784FB-97BB-0C31-F6B3-780689449B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49" y="1039475"/>
            <a:ext cx="6263782" cy="3450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813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D6662C-14C5-73E9-451A-DA3764BA3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EF89EC-581A-E73A-4380-43FE781FBE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E4A1BC-92D4-957C-1418-9A5CDA8489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39E66D-DA89-5DB6-CC65-EF083A505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Using VS Code</a:t>
            </a:r>
          </a:p>
        </p:txBody>
      </p:sp>
      <p:pic>
        <p:nvPicPr>
          <p:cNvPr id="10242" name="Picture 2" descr="Open the terminal">
            <a:extLst>
              <a:ext uri="{FF2B5EF4-FFF2-40B4-BE49-F238E27FC236}">
                <a16:creationId xmlns:a16="http://schemas.microsoft.com/office/drawing/2014/main" id="{5532B730-7423-4FF8-117C-7FAFEFC04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5826" y="1116245"/>
            <a:ext cx="6215466" cy="3265416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145107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04E70B-9413-4127-8465-86698BC7D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04E70B-9413-4127-8465-86698BC7D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604A3E3-F23E-469B-92FF-6707E2B0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E71B743-7029-45A4-8665-06E89468E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AF05CE2-D153-D5CC-D22A-B60EEC3D08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FF2616-0E58-458D-E7C7-083887064B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1"/>
            <a:ext cx="9143999" cy="514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0888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A655F8-D883-D0CE-5333-E45B3A31CF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01B7ECC-E7D3-87B6-E897-E6CB7D4F8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01B7ECC-E7D3-87B6-E897-E6CB7D4F8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88C23F9-3572-C1D1-CB63-762555C01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Slide Title, Segoe UI, 24pt,</a:t>
            </a:r>
            <a:br>
              <a:rPr lang="en-US" noProof="0" dirty="0"/>
            </a:br>
            <a:r>
              <a:rPr lang="en-US" noProof="0" dirty="0"/>
              <a:t>Max. 2 Li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47B37E1-2A1C-755E-D015-5D8B30D50B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E7C6AA6-B143-FD7C-92B4-2CF96684BF7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9" b="7799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981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48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rontend developmen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1242392"/>
            <a:ext cx="7091362" cy="2368672"/>
          </a:xfrm>
        </p:spPr>
        <p:txBody>
          <a:bodyPr/>
          <a:lstStyle/>
          <a:p>
            <a:r>
              <a:rPr lang="en-US" dirty="0"/>
              <a:t>Frontend development is the </a:t>
            </a:r>
            <a:r>
              <a:rPr lang="en-US" b="1" dirty="0"/>
              <a:t>visible part of a website</a:t>
            </a:r>
            <a:r>
              <a:rPr lang="en-US" dirty="0"/>
              <a:t> that users see and interact with.</a:t>
            </a:r>
          </a:p>
          <a:p>
            <a:r>
              <a:rPr lang="en-US" dirty="0"/>
              <a:t>It includes </a:t>
            </a:r>
            <a:r>
              <a:rPr lang="en-US" b="1" dirty="0"/>
              <a:t>buttons, text, images, colors, and layout</a:t>
            </a:r>
            <a:r>
              <a:rPr lang="en-US" dirty="0"/>
              <a:t>.</a:t>
            </a:r>
          </a:p>
          <a:p>
            <a:r>
              <a:rPr lang="en-US" dirty="0"/>
              <a:t>Example: When you open YouTube, the videos, buttons, search bar → all are frontend.</a:t>
            </a:r>
            <a:br>
              <a:rPr lang="en-US" dirty="0"/>
            </a:br>
            <a:endParaRPr lang="en-US" dirty="0"/>
          </a:p>
        </p:txBody>
      </p:sp>
      <p:pic>
        <p:nvPicPr>
          <p:cNvPr id="1029" name="Picture 5" descr="Front End Development in Web Development">
            <a:extLst>
              <a:ext uri="{FF2B5EF4-FFF2-40B4-BE49-F238E27FC236}">
                <a16:creationId xmlns:a16="http://schemas.microsoft.com/office/drawing/2014/main" id="{37ACF022-2339-3846-F0AC-06C6069BE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93" y="2734764"/>
            <a:ext cx="260985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>
            <a:extLst>
              <a:ext uri="{FF2B5EF4-FFF2-40B4-BE49-F238E27FC236}">
                <a16:creationId xmlns:a16="http://schemas.microsoft.com/office/drawing/2014/main" id="{7DAEF337-3973-BB7A-4CFA-4721FF02C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313" y="2646852"/>
            <a:ext cx="3488825" cy="196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56798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F80EAB-01F0-89F6-1A33-FCEA65CB0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E88E53-E4A6-21D8-A558-4E42E32927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D5478C-CE97-DC41-D00E-9B24EC4FE1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9C8B91-87E7-2889-090E-E46BA5435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Introduction to react</a:t>
            </a:r>
          </a:p>
        </p:txBody>
      </p:sp>
      <p:pic>
        <p:nvPicPr>
          <p:cNvPr id="1026" name="Picture 2" descr="Generated image">
            <a:extLst>
              <a:ext uri="{FF2B5EF4-FFF2-40B4-BE49-F238E27FC236}">
                <a16:creationId xmlns:a16="http://schemas.microsoft.com/office/drawing/2014/main" id="{F0E12A8F-6CF2-383B-FB94-6DE3E43C3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976" y="1026067"/>
            <a:ext cx="5896792" cy="330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8018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4C431E-130D-E399-56ED-3D7B8F082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577CFF-241D-FBD8-1045-BE0880F4D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B108A9-EF50-691C-C4DD-915131738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782ED0-5FC9-BBB9-CD0F-E5F1ED02AA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178A31A-4F37-D5F6-1D34-DD5BCE1747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7"/>
            <a:ext cx="7091362" cy="1476795"/>
          </a:xfrm>
        </p:spPr>
        <p:txBody>
          <a:bodyPr/>
          <a:lstStyle/>
          <a:p>
            <a:r>
              <a:rPr lang="en-US" dirty="0"/>
              <a:t>📦 </a:t>
            </a:r>
            <a:r>
              <a:rPr lang="en-US" b="1" dirty="0"/>
              <a:t>Component-based</a:t>
            </a:r>
            <a:r>
              <a:rPr lang="en-US" dirty="0"/>
              <a:t> → Breaks big app into small pieces.</a:t>
            </a:r>
          </a:p>
          <a:p>
            <a:r>
              <a:rPr lang="en-US" dirty="0"/>
              <a:t>⚡ </a:t>
            </a:r>
            <a:r>
              <a:rPr lang="en-US" b="1" dirty="0"/>
              <a:t>Fast</a:t>
            </a:r>
            <a:r>
              <a:rPr lang="en-US" dirty="0"/>
              <a:t> → React updates only the part of the screen that changes.</a:t>
            </a:r>
          </a:p>
          <a:p>
            <a:r>
              <a:rPr lang="en-US" dirty="0"/>
              <a:t>🔄 </a:t>
            </a:r>
            <a:r>
              <a:rPr lang="en-US" b="1" dirty="0"/>
              <a:t>Reusable</a:t>
            </a:r>
            <a:r>
              <a:rPr lang="en-US" dirty="0"/>
              <a:t> → Build once, use many times.</a:t>
            </a:r>
          </a:p>
          <a:p>
            <a:r>
              <a:rPr lang="en-US" dirty="0"/>
              <a:t>🌍 </a:t>
            </a:r>
            <a:r>
              <a:rPr lang="en-US" b="1" dirty="0"/>
              <a:t>Popular</a:t>
            </a:r>
            <a:r>
              <a:rPr lang="en-US" dirty="0"/>
              <a:t> → Used by companies like Instagram, Netflix, Flipkart, etc.        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3DF9065D-C715-0BAE-4033-C61C8F6386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2478383"/>
            <a:ext cx="3919060" cy="188321"/>
          </a:xfrm>
        </p:spPr>
        <p:txBody>
          <a:bodyPr/>
          <a:lstStyle/>
          <a:p>
            <a:pPr lvl="0"/>
            <a:r>
              <a:rPr lang="en-US" dirty="0"/>
              <a:t>How React work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260E21CC-E164-8D93-AC94-6704220FC999}"/>
              </a:ext>
            </a:extLst>
          </p:cNvPr>
          <p:cNvSpPr txBox="1">
            <a:spLocks/>
          </p:cNvSpPr>
          <p:nvPr/>
        </p:nvSpPr>
        <p:spPr bwMode="gray">
          <a:xfrm>
            <a:off x="302420" y="2952537"/>
            <a:ext cx="7091362" cy="1476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Break UI into Components</a:t>
            </a:r>
            <a:r>
              <a:rPr lang="en-US" dirty="0"/>
              <a:t> → (e.g., Button, Header, Footer). </a:t>
            </a:r>
          </a:p>
          <a:p>
            <a:r>
              <a:rPr lang="en-US" b="1" dirty="0"/>
              <a:t>Write JSX</a:t>
            </a:r>
            <a:r>
              <a:rPr lang="en-US" dirty="0"/>
              <a:t> → Code looks like HTML inside JavaScript.</a:t>
            </a:r>
          </a:p>
          <a:p>
            <a:r>
              <a:rPr lang="en-US" b="1" dirty="0"/>
              <a:t>Virtual DOM</a:t>
            </a:r>
            <a:r>
              <a:rPr lang="en-US" dirty="0"/>
              <a:t> → React tracks changes and updates only what’s needed.</a:t>
            </a:r>
          </a:p>
          <a:p>
            <a:r>
              <a:rPr lang="en-US" b="1" dirty="0"/>
              <a:t>Render UI</a:t>
            </a:r>
            <a:r>
              <a:rPr lang="en-US" dirty="0"/>
              <a:t> → Browser shows updated content instantly.</a:t>
            </a:r>
          </a:p>
        </p:txBody>
      </p:sp>
    </p:spTree>
    <p:extLst>
      <p:ext uri="{BB962C8B-B14F-4D97-AF65-F5344CB8AC3E}">
        <p14:creationId xmlns:p14="http://schemas.microsoft.com/office/powerpoint/2010/main" val="35461954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298C77-CD41-7848-A67A-357FC2D7F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2961E1-423C-1277-7D45-F47FE0523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a React Project with Vi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21F1AF-EF97-D0EE-9E8C-0D8AE6BD90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FD5D4E-D386-4BED-5B9E-26C3972C18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30A07A-2079-C05E-4819-88200AA197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820" y="2648025"/>
            <a:ext cx="7091362" cy="1476795"/>
          </a:xfrm>
        </p:spPr>
        <p:txBody>
          <a:bodyPr/>
          <a:lstStyle/>
          <a:p>
            <a:r>
              <a:rPr lang="en-US" dirty="0"/>
              <a:t>Open VS Code → Open Terminal (Ctrl + ~)</a:t>
            </a:r>
          </a:p>
          <a:p>
            <a:r>
              <a:rPr lang="en-US" dirty="0"/>
              <a:t>Run this command to create a new app:</a:t>
            </a:r>
            <a:endParaRPr lang="en-US" b="1" dirty="0"/>
          </a:p>
          <a:p>
            <a:endParaRPr lang="en-US" b="1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6BA039A2-05E3-B470-1A6F-50A18922C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4820" y="2210574"/>
            <a:ext cx="3919060" cy="188321"/>
          </a:xfrm>
        </p:spPr>
        <p:txBody>
          <a:bodyPr/>
          <a:lstStyle/>
          <a:p>
            <a:r>
              <a:rPr lang="en-US" dirty="0"/>
              <a:t>Create a React Project with Vit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EDFDA3A-1FB9-7025-2FCB-2DC3E1D7E939}"/>
              </a:ext>
            </a:extLst>
          </p:cNvPr>
          <p:cNvSpPr txBox="1">
            <a:spLocks/>
          </p:cNvSpPr>
          <p:nvPr/>
        </p:nvSpPr>
        <p:spPr bwMode="gray">
          <a:xfrm>
            <a:off x="302420" y="2952537"/>
            <a:ext cx="7091362" cy="1476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1A8FA8E-0934-0A61-3B45-1421D5EDBB81}"/>
              </a:ext>
            </a:extLst>
          </p:cNvPr>
          <p:cNvSpPr txBox="1">
            <a:spLocks/>
          </p:cNvSpPr>
          <p:nvPr/>
        </p:nvSpPr>
        <p:spPr bwMode="gray">
          <a:xfrm>
            <a:off x="454820" y="1041878"/>
            <a:ext cx="7091362" cy="8357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rerequisites:</a:t>
            </a:r>
          </a:p>
          <a:p>
            <a:r>
              <a:rPr lang="en-US" dirty="0"/>
              <a:t>✅ Install </a:t>
            </a:r>
            <a:r>
              <a:rPr lang="en-US" b="1" dirty="0"/>
              <a:t>Node.js</a:t>
            </a:r>
            <a:r>
              <a:rPr lang="en-US" dirty="0"/>
              <a:t> (latest LTS version) → https://nodejs.org</a:t>
            </a:r>
            <a:br>
              <a:rPr lang="en-US" dirty="0"/>
            </a:br>
            <a:r>
              <a:rPr lang="en-US" dirty="0"/>
              <a:t>✅ Install a </a:t>
            </a:r>
            <a:r>
              <a:rPr lang="en-US" b="1" dirty="0"/>
              <a:t>code editor</a:t>
            </a:r>
            <a:r>
              <a:rPr lang="en-US" dirty="0"/>
              <a:t> (VS Code).</a:t>
            </a:r>
          </a:p>
          <a:p>
            <a:pPr marL="0" indent="0">
              <a:buNone/>
            </a:pPr>
            <a:endParaRPr lang="en-US" b="1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26E0038-00EE-5B69-46C0-E7D7EC440B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757" y="3405544"/>
            <a:ext cx="7388755" cy="968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91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0021AF-9D3E-73C8-2039-434AAB5AD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211BFA-D233-4911-6BB0-1CBB1DE72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a react </a:t>
            </a:r>
            <a:r>
              <a:rPr lang="en-US" dirty="0"/>
              <a:t>projec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6138BBE-D3D7-A690-FE13-7AFF3167C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8E3F79-E2C7-D075-B2B6-2DA3FB3019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FFF152C-81F5-D4A7-47B1-E4BD334DCC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2420" y="889476"/>
            <a:ext cx="7091362" cy="3591781"/>
          </a:xfrm>
        </p:spPr>
        <p:txBody>
          <a:bodyPr/>
          <a:lstStyle/>
          <a:p>
            <a:r>
              <a:rPr lang="en-US" dirty="0"/>
              <a:t>Choose options:</a:t>
            </a:r>
          </a:p>
          <a:p>
            <a:pPr marL="0" indent="0">
              <a:buNone/>
            </a:pPr>
            <a:r>
              <a:rPr lang="en-US" dirty="0"/>
              <a:t>           - Project name → my-app</a:t>
            </a:r>
          </a:p>
          <a:p>
            <a:pPr marL="0" indent="0">
              <a:buNone/>
            </a:pPr>
            <a:r>
              <a:rPr lang="en-US" dirty="0"/>
              <a:t>           - Framework → React</a:t>
            </a:r>
          </a:p>
          <a:p>
            <a:pPr marL="0" indent="0">
              <a:buNone/>
            </a:pPr>
            <a:r>
              <a:rPr lang="en-US" dirty="0"/>
              <a:t>           - Variant → JavaScript</a:t>
            </a:r>
          </a:p>
          <a:p>
            <a:r>
              <a:rPr lang="en-US" dirty="0"/>
              <a:t>Go inside the project folder:  </a:t>
            </a:r>
            <a:r>
              <a:rPr lang="en-US" b="1" dirty="0"/>
              <a:t>cd my-app</a:t>
            </a:r>
          </a:p>
          <a:p>
            <a:r>
              <a:rPr lang="en-US" dirty="0"/>
              <a:t>Install dependencies: </a:t>
            </a:r>
            <a:r>
              <a:rPr lang="en-US" b="1" dirty="0" err="1"/>
              <a:t>npm</a:t>
            </a:r>
            <a:r>
              <a:rPr lang="en-US" b="1" dirty="0"/>
              <a:t> install</a:t>
            </a:r>
          </a:p>
          <a:p>
            <a:r>
              <a:rPr lang="en-US" dirty="0"/>
              <a:t>Start the development server: </a:t>
            </a:r>
            <a:r>
              <a:rPr lang="en-US" b="1" dirty="0" err="1"/>
              <a:t>npm</a:t>
            </a:r>
            <a:r>
              <a:rPr lang="en-US" b="1" dirty="0"/>
              <a:t> run dev</a:t>
            </a:r>
          </a:p>
          <a:p>
            <a:r>
              <a:rPr lang="en-US" dirty="0"/>
              <a:t>Open the link (e.g., </a:t>
            </a:r>
            <a:r>
              <a:rPr lang="en-US" b="1" dirty="0"/>
              <a:t>http://localhost:5173/</a:t>
            </a:r>
            <a:r>
              <a:rPr lang="en-US" dirty="0"/>
              <a:t>) in the browser → Your React app is running 🎉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8863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9EA7F-B4A9-EDEC-F897-0BEB60E9EE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18B059-EA60-7BF1-64AD-5D2C1E558D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E506F4-D56D-33A7-053A-9A7B55643A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AD7F02-6938-A516-53B9-37571BCF5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Project stru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6EF97C-CF0D-E443-BF79-32B022ED5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49" y="918765"/>
            <a:ext cx="8132717" cy="331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8141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610405C-F863-46AF-BD68-1AAFB283A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610405C-F863-46AF-BD68-1AAFB283A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00EADB7-0EC7-4DF5-87D8-E1F4B8D55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3919060" cy="512961"/>
          </a:xfrm>
        </p:spPr>
        <p:txBody>
          <a:bodyPr vert="horz"/>
          <a:lstStyle/>
          <a:p>
            <a:r>
              <a:rPr lang="en-US" dirty="0"/>
              <a:t>Thank you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7DAEA0-5F99-491B-88F0-E51AE5A455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359E4-ACA6-4199-B351-FA44010F46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/>
          <a:lstStyle/>
          <a:p>
            <a:fld id="{54413C03-D129-4B04-B289-283874789DC0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0" name="Bildplatzhalter 9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46D11A94-D46F-4FDB-B7C7-7AC26293E09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5088"/>
          </a:xfrm>
        </p:spPr>
      </p:pic>
    </p:spTree>
    <p:extLst>
      <p:ext uri="{BB962C8B-B14F-4D97-AF65-F5344CB8AC3E}">
        <p14:creationId xmlns:p14="http://schemas.microsoft.com/office/powerpoint/2010/main" val="3764670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91E539-5EFE-4AED-872E-603B8D34A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991E539-5EFE-4AED-872E-603B8D34A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3310CE0A-9AAD-4E7F-A2A7-EF175D65B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C3F69D-D76D-4CFB-AD5F-C2A6D428E3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C0427A-C23D-481C-8E1B-1076EC28FD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0883F-F124-4187-9967-B03237F827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092312"/>
            <a:ext cx="7091362" cy="188321"/>
          </a:xfrm>
        </p:spPr>
        <p:txBody>
          <a:bodyPr/>
          <a:lstStyle/>
          <a:p>
            <a:r>
              <a:rPr lang="en-US" dirty="0"/>
              <a:t>HTML (</a:t>
            </a:r>
            <a:r>
              <a:rPr lang="en-US" dirty="0" err="1"/>
              <a:t>HyperText</a:t>
            </a:r>
            <a:r>
              <a:rPr lang="en-US" dirty="0"/>
              <a:t> Markup Language) – Structu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0B1E615-E944-47CD-AC27-55B477280C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513771"/>
            <a:ext cx="7091362" cy="2539005"/>
          </a:xfrm>
        </p:spPr>
        <p:txBody>
          <a:bodyPr/>
          <a:lstStyle/>
          <a:p>
            <a:r>
              <a:rPr lang="en-US" dirty="0"/>
              <a:t>HTML is the </a:t>
            </a:r>
            <a:r>
              <a:rPr lang="en-US" b="1" dirty="0"/>
              <a:t>skeleton</a:t>
            </a:r>
            <a:r>
              <a:rPr lang="en-US" dirty="0"/>
              <a:t> of a web page.</a:t>
            </a:r>
          </a:p>
          <a:p>
            <a:r>
              <a:rPr lang="en-US" dirty="0"/>
              <a:t>It defines </a:t>
            </a:r>
            <a:r>
              <a:rPr lang="en-US" b="1" dirty="0"/>
              <a:t>headings, paragraphs, images, links, tables, forms</a:t>
            </a:r>
            <a:r>
              <a:rPr lang="en-US" dirty="0"/>
              <a:t>, etc.</a:t>
            </a:r>
          </a:p>
          <a:p>
            <a:r>
              <a:rPr lang="en-US" dirty="0"/>
              <a:t>HTML = What you see (content).</a:t>
            </a:r>
          </a:p>
          <a:p>
            <a:pPr marL="0" indent="0">
              <a:buNone/>
            </a:pPr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08089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54F25-0A3C-F1E5-BACE-207672697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347A2F-8CCF-EF17-A4BF-4A66B7A85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946444-B837-BF04-A3E1-AE1B5D2434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9F0902-B9E8-896B-324C-BE222D37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/>
              <a:t>HTML example</a:t>
            </a:r>
          </a:p>
        </p:txBody>
      </p:sp>
      <p:pic>
        <p:nvPicPr>
          <p:cNvPr id="5" name="Picture 4" descr="A white rectangular object with black text&#10;&#10;AI-generated content may be incorrect.">
            <a:extLst>
              <a:ext uri="{FF2B5EF4-FFF2-40B4-BE49-F238E27FC236}">
                <a16:creationId xmlns:a16="http://schemas.microsoft.com/office/drawing/2014/main" id="{3AB58E22-D33D-6005-03D9-6C74CAE122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5305" b="-1"/>
          <a:stretch>
            <a:fillRect/>
          </a:stretch>
        </p:blipFill>
        <p:spPr>
          <a:xfrm>
            <a:off x="302420" y="1109265"/>
            <a:ext cx="7091362" cy="3265416"/>
          </a:xfrm>
          <a:prstGeom prst="rect">
            <a:avLst/>
          </a:prstGeom>
          <a:noFill/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EF40793-6AFD-D608-59F4-86BB92BEFAEA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496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2D1AF3-D3D8-26CA-6712-FF80E7C153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201B2B-6FBE-1518-749E-094CB72C7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201B2B-6FBE-1518-749E-094CB72C7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35C8A0-E6F4-F5C0-582C-98AF3DA99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4219D5-4ACA-2500-793E-9221D47D0A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A55EF68-3E1A-AD15-B47C-0A9CD1EABE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033B35-304A-9B55-69C9-6BBBAD88EC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3417" y="1171173"/>
            <a:ext cx="7091362" cy="188321"/>
          </a:xfrm>
        </p:spPr>
        <p:txBody>
          <a:bodyPr/>
          <a:lstStyle/>
          <a:p>
            <a:r>
              <a:rPr lang="en-US" dirty="0"/>
              <a:t>CSS (Cascading Style Sheets) – Desig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07832E-BE7E-D60F-ACC3-93B208E86D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3417" y="1683006"/>
            <a:ext cx="7091362" cy="2539005"/>
          </a:xfrm>
        </p:spPr>
        <p:txBody>
          <a:bodyPr/>
          <a:lstStyle/>
          <a:p>
            <a:r>
              <a:rPr lang="en-US" dirty="0"/>
              <a:t>CSS is the </a:t>
            </a:r>
            <a:r>
              <a:rPr lang="en-US" b="1" dirty="0"/>
              <a:t>clothing/decoration</a:t>
            </a:r>
            <a:r>
              <a:rPr lang="en-US" dirty="0"/>
              <a:t> of a web page.</a:t>
            </a:r>
          </a:p>
          <a:p>
            <a:r>
              <a:rPr lang="en-US" dirty="0"/>
              <a:t>It controls </a:t>
            </a:r>
            <a:r>
              <a:rPr lang="en-US" b="1" dirty="0"/>
              <a:t>colors, fonts, layouts, backgrounds, spacing</a:t>
            </a:r>
            <a:r>
              <a:rPr lang="en-US" dirty="0"/>
              <a:t>.</a:t>
            </a:r>
          </a:p>
          <a:p>
            <a:r>
              <a:rPr lang="en-US" dirty="0"/>
              <a:t>CSS = How it looks (sty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847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C3BBFA-F314-BF23-7CC4-627CD32A2D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3B8298-9007-CFB7-DFCE-0AE1C10D52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8649" y="4733844"/>
            <a:ext cx="3151664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“Let’s Build Cool Websites with ReactJS!”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2AC112-03CC-7BF4-0340-D64ECCFA11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0038" y="4733844"/>
            <a:ext cx="31861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4413C03-D129-4B04-B289-283874789DC0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C8B713-2A28-B5B1-2B62-B165FC123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20" y="303212"/>
            <a:ext cx="7091362" cy="615553"/>
          </a:xfrm>
        </p:spPr>
        <p:txBody>
          <a:bodyPr anchor="ctr">
            <a:normAutofit/>
          </a:bodyPr>
          <a:lstStyle/>
          <a:p>
            <a:r>
              <a:rPr lang="en-US" dirty="0" err="1"/>
              <a:t>Css</a:t>
            </a:r>
            <a:r>
              <a:rPr lang="en-US" dirty="0"/>
              <a:t> example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26CEB25-1134-DB62-0726-764ABCF0F8C9}"/>
              </a:ext>
            </a:extLst>
          </p:cNvPr>
          <p:cNvSpPr txBox="1">
            <a:spLocks/>
          </p:cNvSpPr>
          <p:nvPr/>
        </p:nvSpPr>
        <p:spPr bwMode="gray">
          <a:xfrm>
            <a:off x="302420" y="3944846"/>
            <a:ext cx="4130952" cy="7889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BC4177-733F-9D43-D438-B0EBB3CDF4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704" y="1008944"/>
            <a:ext cx="8261335" cy="345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301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D020E6-4B51-002D-94D6-796FCAE57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44B21A-FFBC-847D-A432-18409328A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44B21A-FFBC-847D-A432-18409328A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EAA3D0CD-535E-5264-6D68-BAE46AB02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HTML, CSS, and JavaScri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F92B60-CE3F-A351-3E5E-24D5AE40CE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931EB3-50B2-19F1-137B-D0C1476701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B6C697-FDFC-1F41-6DBF-152C952B6A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0038" y="1202093"/>
            <a:ext cx="7091362" cy="188321"/>
          </a:xfrm>
        </p:spPr>
        <p:txBody>
          <a:bodyPr/>
          <a:lstStyle/>
          <a:p>
            <a:r>
              <a:rPr lang="en-US" dirty="0"/>
              <a:t>JavaScript – Intera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3C22927-4502-A519-B613-E1AAB035F2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723190"/>
            <a:ext cx="7091362" cy="2539005"/>
          </a:xfrm>
        </p:spPr>
        <p:txBody>
          <a:bodyPr/>
          <a:lstStyle/>
          <a:p>
            <a:r>
              <a:rPr lang="en-US" dirty="0"/>
              <a:t>JavaScript makes web pages </a:t>
            </a:r>
            <a:r>
              <a:rPr lang="en-US" b="1" dirty="0"/>
              <a:t>dynamic and interactive</a:t>
            </a:r>
            <a:r>
              <a:rPr lang="en-US" dirty="0"/>
              <a:t>. </a:t>
            </a:r>
          </a:p>
          <a:p>
            <a:r>
              <a:rPr lang="en-US" dirty="0"/>
              <a:t>It can respond to </a:t>
            </a:r>
            <a:r>
              <a:rPr lang="en-US" b="1" dirty="0"/>
              <a:t>clicks, inputs, animations, validations</a:t>
            </a:r>
            <a:r>
              <a:rPr lang="en-US" dirty="0"/>
              <a:t>.</a:t>
            </a:r>
          </a:p>
          <a:p>
            <a:r>
              <a:rPr lang="en-US" dirty="0"/>
              <a:t>JavaScript = How it behaves (interactivity)</a:t>
            </a:r>
          </a:p>
          <a:p>
            <a:r>
              <a:rPr lang="en-US" dirty="0">
                <a:solidFill>
                  <a:schemeClr val="accent1"/>
                </a:solidFill>
              </a:rPr>
              <a:t>Example: </a:t>
            </a:r>
            <a:r>
              <a:rPr lang="en-US" dirty="0">
                <a:hlinkClick r:id="rId6"/>
              </a:rPr>
              <a:t>Playground | MDN</a:t>
            </a:r>
            <a:endParaRPr lang="en-US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19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4451-15E5-04FB-1A1E-5A8690F58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367352-5BC4-A02B-ACCA-4D7CF2925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367352-5BC4-A02B-ACCA-4D7CF2925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24EFFEAC-43FB-2C0B-F818-92F0BB61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6D13F7-B0DD-0A3F-9A83-A40E1662C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03B3D7-FC05-091F-ED9F-886360709F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4AAAD1-85D6-7983-840F-59E00D4747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810" y="1018685"/>
            <a:ext cx="2098191" cy="249160"/>
          </a:xfrm>
        </p:spPr>
        <p:txBody>
          <a:bodyPr/>
          <a:lstStyle/>
          <a:p>
            <a:r>
              <a:rPr lang="en-US" dirty="0"/>
              <a:t>Browser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57C7668-AA72-FDED-2FE3-6AFB8C54CB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429670"/>
            <a:ext cx="7091362" cy="580301"/>
          </a:xfrm>
        </p:spPr>
        <p:txBody>
          <a:bodyPr/>
          <a:lstStyle/>
          <a:p>
            <a:r>
              <a:rPr lang="en-US" dirty="0"/>
              <a:t>A browser is the </a:t>
            </a:r>
            <a:r>
              <a:rPr lang="en-US" b="1" dirty="0"/>
              <a:t>tool you use to visit websites</a:t>
            </a:r>
            <a:r>
              <a:rPr lang="en-US" dirty="0"/>
              <a:t>. When you type www.google.com in the address bar, the browser sends a request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50D75F6-A1F9-C5D2-EB66-32E633374B68}"/>
              </a:ext>
            </a:extLst>
          </p:cNvPr>
          <p:cNvSpPr txBox="1">
            <a:spLocks/>
          </p:cNvSpPr>
          <p:nvPr/>
        </p:nvSpPr>
        <p:spPr bwMode="gray">
          <a:xfrm>
            <a:off x="341810" y="2009971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rver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5D6CACE-FEA3-F33D-6AA1-E99F1BCC5EF1}"/>
              </a:ext>
            </a:extLst>
          </p:cNvPr>
          <p:cNvSpPr txBox="1">
            <a:spLocks/>
          </p:cNvSpPr>
          <p:nvPr/>
        </p:nvSpPr>
        <p:spPr bwMode="gray">
          <a:xfrm>
            <a:off x="300038" y="2337718"/>
            <a:ext cx="7091362" cy="615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</a:t>
            </a:r>
            <a:r>
              <a:rPr lang="en-US" b="1" dirty="0"/>
              <a:t>server is a powerful computer</a:t>
            </a:r>
            <a:r>
              <a:rPr lang="en-US" dirty="0"/>
              <a:t> that stores websites. When your browser asks for a page, the server sends back the </a:t>
            </a:r>
            <a:r>
              <a:rPr lang="en-US" b="1" dirty="0"/>
              <a:t>HTML, CSS, and JavaScript files</a:t>
            </a:r>
            <a:endParaRPr lang="en-US" dirty="0"/>
          </a:p>
        </p:txBody>
      </p:sp>
      <p:pic>
        <p:nvPicPr>
          <p:cNvPr id="3080" name="Picture 8" descr="Google Chrome PNG Images - CleanPNG">
            <a:extLst>
              <a:ext uri="{FF2B5EF4-FFF2-40B4-BE49-F238E27FC236}">
                <a16:creationId xmlns:a16="http://schemas.microsoft.com/office/drawing/2014/main" id="{34019E49-C474-8F33-21E5-85DE57290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68" y="1014501"/>
            <a:ext cx="250193" cy="26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Firefox Logo transparent PNG - StickPNG">
            <a:extLst>
              <a:ext uri="{FF2B5EF4-FFF2-40B4-BE49-F238E27FC236}">
                <a16:creationId xmlns:a16="http://schemas.microsoft.com/office/drawing/2014/main" id="{A7CA63AD-1EE1-4376-678B-98470C5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905" y="993795"/>
            <a:ext cx="270044" cy="28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7C0F1331-D379-4DB9-63D0-BD7F7B5D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993" y="1003319"/>
            <a:ext cx="270045" cy="27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Generated image">
            <a:extLst>
              <a:ext uri="{FF2B5EF4-FFF2-40B4-BE49-F238E27FC236}">
                <a16:creationId xmlns:a16="http://schemas.microsoft.com/office/drawing/2014/main" id="{3CF74EAC-7769-1942-2489-4E4064CE5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861" y="2953271"/>
            <a:ext cx="4068857" cy="16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893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3FB4D-4A4C-5808-E782-93F505B98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1E8489-9739-58FC-7320-11A3E185B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31E8489-9739-58FC-7320-11A3E185B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DCD1C6B0-CA63-AC7B-6F60-D61D4F2AB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eb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39A735-BC7F-BC4E-D84F-5C5114189C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“Let’s Build Cool Websites with ReactJS!”</a:t>
            </a:r>
            <a:endParaRPr lang="en-US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DAC9935-591A-1B26-6C51-B97854E3C9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413C03-D129-4B04-B289-283874789DC0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89C7623-D0ED-6B8B-9C1D-39F4E36E8A6C}"/>
              </a:ext>
            </a:extLst>
          </p:cNvPr>
          <p:cNvSpPr txBox="1">
            <a:spLocks/>
          </p:cNvSpPr>
          <p:nvPr/>
        </p:nvSpPr>
        <p:spPr bwMode="gray">
          <a:xfrm>
            <a:off x="302420" y="1610586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13" name="Picture 12" descr="A diagram of a cloud computing system">
            <a:extLst>
              <a:ext uri="{FF2B5EF4-FFF2-40B4-BE49-F238E27FC236}">
                <a16:creationId xmlns:a16="http://schemas.microsoft.com/office/drawing/2014/main" id="{003124DD-6AA0-532B-9CC7-4F7A0EA763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827" y="842407"/>
            <a:ext cx="6190972" cy="2808214"/>
          </a:xfrm>
          <a:prstGeom prst="rect">
            <a:avLst/>
          </a:prstGeom>
        </p:spPr>
      </p:pic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1EF0E18C-3BE3-52FD-D83E-C6F182C5FDFA}"/>
              </a:ext>
            </a:extLst>
          </p:cNvPr>
          <p:cNvSpPr txBox="1">
            <a:spLocks/>
          </p:cNvSpPr>
          <p:nvPr/>
        </p:nvSpPr>
        <p:spPr bwMode="gray">
          <a:xfrm>
            <a:off x="341810" y="3451164"/>
            <a:ext cx="7091362" cy="1883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b="1" kern="1200">
                <a:solidFill>
                  <a:schemeClr val="accent1"/>
                </a:solidFill>
                <a:latin typeface="+mj-lt"/>
                <a:ea typeface="GT Flexa Bl" pitchFamily="2" charset="0"/>
                <a:cs typeface="GT Flexa Bl" pitchFamily="2" charset="0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(Application Programming Interfaces)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A30D743-B4A6-D96B-54C2-7B7CC11E23FC}"/>
              </a:ext>
            </a:extLst>
          </p:cNvPr>
          <p:cNvSpPr txBox="1">
            <a:spLocks/>
          </p:cNvSpPr>
          <p:nvPr/>
        </p:nvSpPr>
        <p:spPr bwMode="gray">
          <a:xfrm>
            <a:off x="327632" y="3802354"/>
            <a:ext cx="7091362" cy="768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8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6000" indent="-162000" algn="l" defTabSz="6858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GT Flexa Rg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Is are like </a:t>
            </a:r>
            <a:r>
              <a:rPr lang="en-US" b="1" dirty="0"/>
              <a:t>messengers</a:t>
            </a:r>
            <a:r>
              <a:rPr lang="en-US" dirty="0"/>
              <a:t> that allow different apps or services to talk to each other.</a:t>
            </a:r>
          </a:p>
          <a:p>
            <a:r>
              <a:rPr lang="en-US" b="1" dirty="0"/>
              <a:t>Example</a:t>
            </a:r>
            <a:r>
              <a:rPr lang="en-US" dirty="0"/>
              <a:t>: When a website shows </a:t>
            </a:r>
            <a:r>
              <a:rPr lang="en-US" b="1" dirty="0"/>
              <a:t>Google Maps</a:t>
            </a:r>
            <a:r>
              <a:rPr lang="en-US" dirty="0"/>
              <a:t>, it uses the </a:t>
            </a:r>
            <a:r>
              <a:rPr lang="en-US" b="1" dirty="0"/>
              <a:t>Google Maps API</a:t>
            </a:r>
            <a:r>
              <a:rPr lang="en-US" dirty="0"/>
              <a:t> to fetch data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466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aff958d4-5f71-4e90-bfe1-a52ab6a9a6c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nkel_Master_EN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 Henkel 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80000" tIns="144000" rIns="180000" bIns="144000" rtlCol="0" anchor="t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noAutofit/>
      </a:bodyPr>
      <a:lstStyle>
        <a:defPPr marL="162000" indent="-162000" algn="l" defTabSz="685800">
          <a:lnSpc>
            <a:spcPct val="114000"/>
          </a:lnSpc>
          <a:spcAft>
            <a:spcPts val="1200"/>
          </a:spcAft>
          <a:buClr>
            <a:schemeClr val="accent1"/>
          </a:buClr>
          <a:buSzPct val="100000"/>
          <a:buFont typeface="Wingdings" panose="05000000000000000000" pitchFamily="2" charset="2"/>
          <a:buChar char="§"/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Henkel PPT Template.pptx" id="{53EEE8EB-EB05-4128-A489-5074B0BCE927}" vid="{042B78F7-4D3D-495E-A87C-6229CE44AAFA}"/>
    </a:ext>
  </a:extLst>
</a:theme>
</file>

<file path=ppt/theme/theme2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Color_Henkel">
      <a:dk1>
        <a:sysClr val="windowText" lastClr="000000"/>
      </a:dk1>
      <a:lt1>
        <a:sysClr val="window" lastClr="FFFFFF"/>
      </a:lt1>
      <a:dk2>
        <a:srgbClr val="DED7D6"/>
      </a:dk2>
      <a:lt2>
        <a:srgbClr val="EFEBEA"/>
      </a:lt2>
      <a:accent1>
        <a:srgbClr val="E1000F"/>
      </a:accent1>
      <a:accent2>
        <a:srgbClr val="968282"/>
      </a:accent2>
      <a:accent3>
        <a:srgbClr val="56729F"/>
      </a:accent3>
      <a:accent4>
        <a:srgbClr val="BDCDDA"/>
      </a:accent4>
      <a:accent5>
        <a:srgbClr val="53846A"/>
      </a:accent5>
      <a:accent6>
        <a:srgbClr val="BFCFBE"/>
      </a:accent6>
      <a:hlink>
        <a:srgbClr val="000000"/>
      </a:hlink>
      <a:folHlink>
        <a:srgbClr val="000000"/>
      </a:folHlink>
    </a:clrScheme>
    <a:fontScheme name="Fonts_Henkel">
      <a:majorFont>
        <a:latin typeface="GT Flexa Rg"/>
        <a:ea typeface=""/>
        <a:cs typeface=""/>
      </a:majorFont>
      <a:minorFont>
        <a:latin typeface="GT Flex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SharedContentType xmlns="Microsoft.SharePoint.Taxonomy.ContentTypeSync" SourceId="72f792e8-4dad-42c1-ad63-44982727bf4d" ContentTypeId="0x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A3342A4612824A984C9D3B6A427442" ma:contentTypeVersion="8" ma:contentTypeDescription="Create a new document." ma:contentTypeScope="" ma:versionID="a6ab8473d9b7c3f86d452009d11bc564">
  <xsd:schema xmlns:xsd="http://www.w3.org/2001/XMLSchema" xmlns:xs="http://www.w3.org/2001/XMLSchema" xmlns:p="http://schemas.microsoft.com/office/2006/metadata/properties" xmlns:ns2="41cfcdc3-71d6-4f22-98da-a03455e31e1e" xmlns:ns3="f6c43736-06a3-4b01-9241-d507a38380c5" targetNamespace="http://schemas.microsoft.com/office/2006/metadata/properties" ma:root="true" ma:fieldsID="c4f460adf626c0f020155bcf5a1d9ecf" ns2:_="" ns3:_="">
    <xsd:import namespace="41cfcdc3-71d6-4f22-98da-a03455e31e1e"/>
    <xsd:import namespace="f6c43736-06a3-4b01-9241-d507a38380c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cfcdc3-71d6-4f22-98da-a03455e31e1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43736-06a3-4b01-9241-d507a3838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C2817D-4C97-4B64-8971-3B82218F0E7C}">
  <ds:schemaRefs>
    <ds:schemaRef ds:uri="41cfcdc3-71d6-4f22-98da-a03455e31e1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f6c43736-06a3-4b01-9241-d507a38380c5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916BC72-8BF2-437E-AAED-829A1B7442F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7CF7434-E26D-4085-9ED2-B86CC45AE79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810E311-6271-432D-AB10-6E4D630007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cfcdc3-71d6-4f22-98da-a03455e31e1e"/>
    <ds:schemaRef ds:uri="f6c43736-06a3-4b01-9241-d507a38380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nkel PPT Template</Template>
  <TotalTime>0</TotalTime>
  <Words>923</Words>
  <Application>Microsoft Office PowerPoint</Application>
  <PresentationFormat>Custom</PresentationFormat>
  <Paragraphs>146</Paragraphs>
  <Slides>2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GT Flexa Rg</vt:lpstr>
      <vt:lpstr>Segoe UI</vt:lpstr>
      <vt:lpstr>Wingdings</vt:lpstr>
      <vt:lpstr>Henkel_Master_EN</vt:lpstr>
      <vt:lpstr>think-cell Folie</vt:lpstr>
      <vt:lpstr>“Let’s Build Cool Websites with ReactJS!”</vt:lpstr>
      <vt:lpstr>What is frontend development</vt:lpstr>
      <vt:lpstr>Introduction to HTML, CSS, and JavaScript</vt:lpstr>
      <vt:lpstr>HTML example</vt:lpstr>
      <vt:lpstr>Introduction to HTML, CSS, and JavaScript</vt:lpstr>
      <vt:lpstr>Css example</vt:lpstr>
      <vt:lpstr>Introduction to HTML, CSS, and JavaScript</vt:lpstr>
      <vt:lpstr>How the Web Works</vt:lpstr>
      <vt:lpstr>How the Web Works</vt:lpstr>
      <vt:lpstr>Developer Tools</vt:lpstr>
      <vt:lpstr>Developer Tools</vt:lpstr>
      <vt:lpstr>Developer Tools</vt:lpstr>
      <vt:lpstr>Developer Tools</vt:lpstr>
      <vt:lpstr>Using VS Code</vt:lpstr>
      <vt:lpstr>Using VS Code</vt:lpstr>
      <vt:lpstr>Using VS Code</vt:lpstr>
      <vt:lpstr>Using VS Code</vt:lpstr>
      <vt:lpstr>Slide Title, Segoe UI, 24pt, Max. 2 Lines</vt:lpstr>
      <vt:lpstr>Slide Title, Segoe UI, 24pt, Max. 2 Lines</vt:lpstr>
      <vt:lpstr>Introduction to react</vt:lpstr>
      <vt:lpstr>Key features</vt:lpstr>
      <vt:lpstr>Setting up a React Project with Vite</vt:lpstr>
      <vt:lpstr>Create a react project</vt:lpstr>
      <vt:lpstr>Project structure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vedha N A</dc:creator>
  <cp:lastModifiedBy>Nivedha N A</cp:lastModifiedBy>
  <cp:revision>1</cp:revision>
  <dcterms:created xsi:type="dcterms:W3CDTF">2025-09-01T09:30:01Z</dcterms:created>
  <dcterms:modified xsi:type="dcterms:W3CDTF">2025-09-04T07:4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A3342A4612824A984C9D3B6A427442</vt:lpwstr>
  </property>
</Properties>
</file>